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503" r:id="rId5"/>
    <p:sldId id="2134806616" r:id="rId6"/>
    <p:sldId id="2134806622" r:id="rId7"/>
    <p:sldId id="2134806624" r:id="rId8"/>
    <p:sldId id="2134806617" r:id="rId9"/>
    <p:sldId id="832" r:id="rId10"/>
    <p:sldId id="2134806590" r:id="rId11"/>
    <p:sldId id="2134806604" r:id="rId12"/>
    <p:sldId id="2134806603" r:id="rId13"/>
    <p:sldId id="349" r:id="rId14"/>
    <p:sldId id="2134806635" r:id="rId15"/>
    <p:sldId id="2134806637" r:id="rId16"/>
    <p:sldId id="2134806636" r:id="rId17"/>
    <p:sldId id="2134806634" r:id="rId18"/>
    <p:sldId id="2134806631" r:id="rId19"/>
    <p:sldId id="2134806638" r:id="rId20"/>
    <p:sldId id="2134806639" r:id="rId21"/>
    <p:sldId id="2134806640" r:id="rId22"/>
    <p:sldId id="2134806643" r:id="rId23"/>
    <p:sldId id="2134806642" r:id="rId24"/>
    <p:sldId id="2134806632" r:id="rId25"/>
    <p:sldId id="2134806602" r:id="rId26"/>
    <p:sldId id="2134806633" r:id="rId27"/>
    <p:sldId id="505" r:id="rId28"/>
  </p:sldIdLst>
  <p:sldSz cx="12192000" cy="6858000"/>
  <p:notesSz cx="6858000" cy="9144000"/>
  <p:defaultTextStyle>
    <a:defPPr>
      <a:defRPr lang="fi-FI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8080"/>
    <a:srgbClr val="CCFF99"/>
    <a:srgbClr val="33CCCC"/>
    <a:srgbClr val="00CCFF"/>
    <a:srgbClr val="FAFAFA"/>
    <a:srgbClr val="FF595A"/>
    <a:srgbClr val="267A8A"/>
    <a:srgbClr val="19515C"/>
    <a:srgbClr val="FBEB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54" autoAdjust="0"/>
    <p:restoredTop sz="94014" autoAdjust="0"/>
  </p:normalViewPr>
  <p:slideViewPr>
    <p:cSldViewPr snapToGrid="0" snapToObjects="1">
      <p:cViewPr varScale="1">
        <p:scale>
          <a:sx n="84" d="100"/>
          <a:sy n="84" d="100"/>
        </p:scale>
        <p:origin x="101" y="11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308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75"/>
    </p:cViewPr>
  </p:sorterViewPr>
  <p:notesViewPr>
    <p:cSldViewPr snapToGrid="0" snapToObjects="1">
      <p:cViewPr varScale="1">
        <p:scale>
          <a:sx n="157" d="100"/>
          <a:sy n="157" d="100"/>
        </p:scale>
        <p:origin x="4448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FAAA720-9F83-204F-A1A4-6899A49031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5AB07D-8732-4147-BCF3-8C0C6413767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F6C694-1ABF-7E47-9EE7-102755DD0632}" type="datetimeFigureOut">
              <a:rPr lang="en-GB" smtClean="0"/>
              <a:t>18/1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DDEB55-4CF9-BE42-A824-62332C2007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137C2B-85CA-094A-9D97-9D6DE24DFAA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BE4E3F-EBC2-B34B-8C68-6E4DE2E77B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11999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167E48-443D-9944-8D8B-1D72252CE562}" type="datetimeFigureOut">
              <a:rPr lang="fi-FI" smtClean="0"/>
              <a:pPr/>
              <a:t>18.12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fi-FI"/>
              <a:t>Muokkaa tekstin perustyylejä
toinen taso
kolmas taso
neljäs taso
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CED2A2-A47A-8944-B9D1-40C5CDA072A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0749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CED2A2-A47A-8944-B9D1-40C5CDA072A0}" type="slidenum">
              <a:rPr lang="fi-FI" smtClean="0"/>
              <a:pPr/>
              <a:t>2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11158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tausta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A picture containing stone&#10;&#10;Description automatically generated">
            <a:extLst>
              <a:ext uri="{FF2B5EF4-FFF2-40B4-BE49-F238E27FC236}">
                <a16:creationId xmlns:a16="http://schemas.microsoft.com/office/drawing/2014/main" id="{E8A2BD2E-A1BC-F251-C18F-9E1D386C71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48FE948-F9AF-9F4F-AAA0-35AD5CBB6B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0800" y="2232000"/>
            <a:ext cx="9144000" cy="2386800"/>
          </a:xfrm>
        </p:spPr>
        <p:txBody>
          <a:bodyPr anchor="b">
            <a:normAutofit/>
          </a:bodyPr>
          <a:lstStyle>
            <a:lvl1pPr algn="r">
              <a:defRPr sz="4401" b="1" i="0" cap="none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95780F01-AC25-4A44-8237-20EC869863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80800" y="4694400"/>
            <a:ext cx="9144000" cy="1054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  <a:effectLst/>
              </a:defRPr>
            </a:lvl1pPr>
            <a:lvl2pPr marL="457202" indent="0" algn="ctr">
              <a:buNone/>
              <a:defRPr sz="2000"/>
            </a:lvl2pPr>
            <a:lvl3pPr marL="914403" indent="0" algn="ctr">
              <a:buNone/>
              <a:defRPr sz="1800"/>
            </a:lvl3pPr>
            <a:lvl4pPr marL="1371605" indent="0" algn="ctr">
              <a:buNone/>
              <a:defRPr sz="1600"/>
            </a:lvl4pPr>
            <a:lvl5pPr marL="1828805" indent="0" algn="ctr">
              <a:buNone/>
              <a:defRPr sz="1600"/>
            </a:lvl5pPr>
            <a:lvl6pPr marL="2286007" indent="0" algn="ctr">
              <a:buNone/>
              <a:defRPr sz="1600"/>
            </a:lvl6pPr>
            <a:lvl7pPr marL="2743208" indent="0" algn="ctr">
              <a:buNone/>
              <a:defRPr sz="1600"/>
            </a:lvl7pPr>
            <a:lvl8pPr marL="3200410" indent="0" algn="ctr">
              <a:buNone/>
              <a:defRPr sz="1600"/>
            </a:lvl8pPr>
            <a:lvl9pPr marL="3657611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fi-FI" noProof="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0E9381D-257E-FB49-BA06-A9A3D2546A99}"/>
              </a:ext>
            </a:extLst>
          </p:cNvPr>
          <p:cNvGrpSpPr/>
          <p:nvPr userDrawn="1"/>
        </p:nvGrpSpPr>
        <p:grpSpPr>
          <a:xfrm>
            <a:off x="-1" y="233224"/>
            <a:ext cx="12192001" cy="6629143"/>
            <a:chOff x="-1" y="233224"/>
            <a:chExt cx="12192001" cy="6629143"/>
          </a:xfrm>
        </p:grpSpPr>
        <p:pic>
          <p:nvPicPr>
            <p:cNvPr id="15" name="Kuva 17">
              <a:extLst>
                <a:ext uri="{FF2B5EF4-FFF2-40B4-BE49-F238E27FC236}">
                  <a16:creationId xmlns:a16="http://schemas.microsoft.com/office/drawing/2014/main" id="{AC39F2C0-4310-DB43-B11C-F3E69BE1CC0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20735" b="26230"/>
            <a:stretch/>
          </p:blipFill>
          <p:spPr>
            <a:xfrm>
              <a:off x="10717077" y="233224"/>
              <a:ext cx="1252965" cy="469900"/>
            </a:xfrm>
            <a:prstGeom prst="rect">
              <a:avLst/>
            </a:prstGeom>
          </p:spPr>
        </p:pic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E0C2EE9-AE76-3F42-A4F9-995DD5AA7124}"/>
                </a:ext>
              </a:extLst>
            </p:cNvPr>
            <p:cNvGrpSpPr/>
            <p:nvPr userDrawn="1"/>
          </p:nvGrpSpPr>
          <p:grpSpPr>
            <a:xfrm>
              <a:off x="-1" y="4932182"/>
              <a:ext cx="12192001" cy="1930185"/>
              <a:chOff x="-1" y="4932182"/>
              <a:chExt cx="12192001" cy="1930185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44C9AFA1-B3FF-3D4F-A039-8AC8B6E42CD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>
                <a:alphaModFix amt="50000"/>
              </a:blip>
              <a:srcRect b="2135"/>
              <a:stretch/>
            </p:blipFill>
            <p:spPr>
              <a:xfrm>
                <a:off x="-1" y="4932182"/>
                <a:ext cx="9576661" cy="1927354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DEF219CB-04A4-3D40-BC4F-37C0469CD02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b="32112"/>
              <a:stretch/>
            </p:blipFill>
            <p:spPr>
              <a:xfrm>
                <a:off x="0" y="5338267"/>
                <a:ext cx="12192000" cy="15241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1634262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3" y="1800000"/>
            <a:ext cx="5234727" cy="4190400"/>
          </a:xfrm>
        </p:spPr>
        <p:txBody>
          <a:bodyPr/>
          <a:lstStyle>
            <a:lvl1pPr>
              <a:lnSpc>
                <a:spcPct val="95000"/>
              </a:lnSpc>
              <a:defRPr sz="2200"/>
            </a:lvl1pPr>
            <a:lvl2pPr>
              <a:lnSpc>
                <a:spcPct val="95000"/>
              </a:lnSpc>
              <a:defRPr sz="2200"/>
            </a:lvl2pPr>
            <a:lvl3pPr>
              <a:lnSpc>
                <a:spcPct val="95000"/>
              </a:lnSpc>
              <a:defRPr sz="2200"/>
            </a:lvl3pPr>
            <a:lvl4pPr>
              <a:lnSpc>
                <a:spcPct val="95000"/>
              </a:lnSpc>
              <a:defRPr sz="2200"/>
            </a:lvl4pPr>
            <a:lvl5pPr>
              <a:lnSpc>
                <a:spcPct val="95000"/>
              </a:lnSpc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AE6FC742-C7A2-422D-8D84-5E37E7ABDD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02400" y="1800227"/>
            <a:ext cx="4809600" cy="354305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375E1E1D-6476-B24E-9439-E0B9B3C87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45EE43-658C-48D4-A54B-BA195840100E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89A5C30F-57A2-444C-8A8A-38E4D9DFB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A0056F-9BF4-9B46-96DF-6388F205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497259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719" y="644233"/>
            <a:ext cx="5245011" cy="782343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3" y="1800000"/>
            <a:ext cx="5234727" cy="4190400"/>
          </a:xfrm>
        </p:spPr>
        <p:txBody>
          <a:bodyPr/>
          <a:lstStyle>
            <a:lvl1pPr>
              <a:lnSpc>
                <a:spcPct val="95000"/>
              </a:lnSpc>
              <a:defRPr/>
            </a:lvl1pPr>
            <a:lvl2pPr>
              <a:lnSpc>
                <a:spcPct val="95000"/>
              </a:lnSpc>
              <a:defRPr/>
            </a:lvl2pPr>
            <a:lvl3pPr>
              <a:lnSpc>
                <a:spcPct val="95000"/>
              </a:lnSpc>
              <a:defRPr/>
            </a:lvl3pPr>
            <a:lvl4pPr>
              <a:lnSpc>
                <a:spcPct val="95000"/>
              </a:lnSpc>
              <a:defRPr/>
            </a:lvl4pPr>
            <a:lvl5pPr>
              <a:lnSpc>
                <a:spcPct val="95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AE6FC742-C7A2-422D-8D84-5E37E7ABDD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72000" y="900000"/>
            <a:ext cx="5821200" cy="5436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375E1E1D-6476-B24E-9439-E0B9B3C87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76B1926-6ACF-4FDD-BF04-23171A8ADCE5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89A5C30F-57A2-444C-8A8A-38E4D9DFB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A0056F-9BF4-9B46-96DF-6388F205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066673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kuv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22" y="644233"/>
            <a:ext cx="5245010" cy="782343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535306" y="1800000"/>
            <a:ext cx="5234727" cy="4190400"/>
          </a:xfrm>
        </p:spPr>
        <p:txBody>
          <a:bodyPr/>
          <a:lstStyle>
            <a:lvl1pPr>
              <a:lnSpc>
                <a:spcPct val="95000"/>
              </a:lnSpc>
              <a:defRPr/>
            </a:lvl1pPr>
            <a:lvl2pPr>
              <a:lnSpc>
                <a:spcPct val="95000"/>
              </a:lnSpc>
              <a:defRPr/>
            </a:lvl2pPr>
            <a:lvl3pPr>
              <a:lnSpc>
                <a:spcPct val="95000"/>
              </a:lnSpc>
              <a:defRPr/>
            </a:lvl3pPr>
            <a:lvl4pPr>
              <a:lnSpc>
                <a:spcPct val="95000"/>
              </a:lnSpc>
              <a:defRPr/>
            </a:lvl4pPr>
            <a:lvl5pPr>
              <a:lnSpc>
                <a:spcPct val="95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AE6FC742-C7A2-422D-8D84-5E37E7ABDD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17920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375E1E1D-6476-B24E-9439-E0B9B3C87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CCECEEDC-A0FF-471C-A98F-630BF7D33E93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89A5C30F-57A2-444C-8A8A-38E4D9DFB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A0056F-9BF4-9B46-96DF-6388F205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493651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3" y="1800000"/>
            <a:ext cx="5234727" cy="4190400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375E1E1D-6476-B24E-9439-E0B9B3C87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6AA8046-BC15-4E15-9D31-741D3DC67239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89A5C30F-57A2-444C-8A8A-38E4D9DFB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A0056F-9BF4-9B46-96DF-6388F205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8" name="Sisällön paikkamerkki 19">
            <a:extLst>
              <a:ext uri="{FF2B5EF4-FFF2-40B4-BE49-F238E27FC236}">
                <a16:creationId xmlns:a16="http://schemas.microsoft.com/office/drawing/2014/main" id="{284F9D93-8524-038B-C265-FDB2B46E38B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135200" y="1875600"/>
            <a:ext cx="3722400" cy="3769200"/>
          </a:xfrm>
          <a:solidFill>
            <a:srgbClr val="32A2B8"/>
          </a:solidFill>
        </p:spPr>
        <p:txBody>
          <a:bodyPr lIns="252000" tIns="252000" rIns="252000" bIns="25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29383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3" y="1800000"/>
            <a:ext cx="5234727" cy="4190400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375E1E1D-6476-B24E-9439-E0B9B3C87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CC6176F5-CCF4-4844-958D-07F157AC3A41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89A5C30F-57A2-444C-8A8A-38E4D9DFB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A0056F-9BF4-9B46-96DF-6388F205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8" name="Sisällön paikkamerkki 19">
            <a:extLst>
              <a:ext uri="{FF2B5EF4-FFF2-40B4-BE49-F238E27FC236}">
                <a16:creationId xmlns:a16="http://schemas.microsoft.com/office/drawing/2014/main" id="{284F9D93-8524-038B-C265-FDB2B46E38B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135200" y="1875600"/>
            <a:ext cx="3722400" cy="3769200"/>
          </a:xfrm>
          <a:solidFill>
            <a:srgbClr val="EEF2F5"/>
          </a:solidFill>
        </p:spPr>
        <p:txBody>
          <a:bodyPr lIns="252000" tIns="252000" rIns="252000" bIns="25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5477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3" y="1800000"/>
            <a:ext cx="5234727" cy="4190400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375E1E1D-6476-B24E-9439-E0B9B3C87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1B23E5B-BCC5-4D3D-95F6-71B76EAD0410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89A5C30F-57A2-444C-8A8A-38E4D9DFB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A0056F-9BF4-9B46-96DF-6388F205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8" name="Sisällön paikkamerkki 19">
            <a:extLst>
              <a:ext uri="{FF2B5EF4-FFF2-40B4-BE49-F238E27FC236}">
                <a16:creationId xmlns:a16="http://schemas.microsoft.com/office/drawing/2014/main" id="{284F9D93-8524-038B-C265-FDB2B46E38B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135200" y="1875600"/>
            <a:ext cx="3722400" cy="3769200"/>
          </a:xfrm>
          <a:solidFill>
            <a:srgbClr val="E3F4F7"/>
          </a:solidFill>
        </p:spPr>
        <p:txBody>
          <a:bodyPr lIns="252000" tIns="252000" rIns="252000" bIns="25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51919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3" y="1800000"/>
            <a:ext cx="5234727" cy="4190400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375E1E1D-6476-B24E-9439-E0B9B3C87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FCDB313-B4F2-4A00-9671-674B090C3528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89A5C30F-57A2-444C-8A8A-38E4D9DFB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A0056F-9BF4-9B46-96DF-6388F205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8" name="Sisällön paikkamerkki 19">
            <a:extLst>
              <a:ext uri="{FF2B5EF4-FFF2-40B4-BE49-F238E27FC236}">
                <a16:creationId xmlns:a16="http://schemas.microsoft.com/office/drawing/2014/main" id="{284F9D93-8524-038B-C265-FDB2B46E38B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135200" y="1875600"/>
            <a:ext cx="3722400" cy="3769200"/>
          </a:xfrm>
          <a:solidFill>
            <a:srgbClr val="FBEBC5"/>
          </a:solidFill>
        </p:spPr>
        <p:txBody>
          <a:bodyPr lIns="252000" tIns="252000" rIns="252000" bIns="25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92304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element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EFE9A521-BC5F-C165-4650-182870D90A1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0502" y="980326"/>
            <a:ext cx="3448398" cy="2061703"/>
          </a:xfrm>
          <a:custGeom>
            <a:avLst/>
            <a:gdLst>
              <a:gd name="connsiteX0" fmla="*/ 0 w 2686397"/>
              <a:gd name="connsiteY0" fmla="*/ 0 h 2061703"/>
              <a:gd name="connsiteX1" fmla="*/ 2686397 w 2686397"/>
              <a:gd name="connsiteY1" fmla="*/ 0 h 2061703"/>
              <a:gd name="connsiteX2" fmla="*/ 2686397 w 2686397"/>
              <a:gd name="connsiteY2" fmla="*/ 2061703 h 2061703"/>
              <a:gd name="connsiteX3" fmla="*/ 0 w 2686397"/>
              <a:gd name="connsiteY3" fmla="*/ 2061703 h 2061703"/>
              <a:gd name="connsiteX4" fmla="*/ 0 w 2686397"/>
              <a:gd name="connsiteY4" fmla="*/ 0 h 2061703"/>
              <a:gd name="connsiteX0" fmla="*/ 4354 w 2690751"/>
              <a:gd name="connsiteY0" fmla="*/ 0 h 2061703"/>
              <a:gd name="connsiteX1" fmla="*/ 2690751 w 2690751"/>
              <a:gd name="connsiteY1" fmla="*/ 0 h 2061703"/>
              <a:gd name="connsiteX2" fmla="*/ 2690751 w 2690751"/>
              <a:gd name="connsiteY2" fmla="*/ 2061703 h 2061703"/>
              <a:gd name="connsiteX3" fmla="*/ 4354 w 2690751"/>
              <a:gd name="connsiteY3" fmla="*/ 2061703 h 2061703"/>
              <a:gd name="connsiteX4" fmla="*/ 0 w 2690751"/>
              <a:gd name="connsiteY4" fmla="*/ 861537 h 2061703"/>
              <a:gd name="connsiteX5" fmla="*/ 4354 w 2690751"/>
              <a:gd name="connsiteY5" fmla="*/ 0 h 2061703"/>
              <a:gd name="connsiteX0" fmla="*/ 198831 w 2885228"/>
              <a:gd name="connsiteY0" fmla="*/ 0 h 2061703"/>
              <a:gd name="connsiteX1" fmla="*/ 2885228 w 2885228"/>
              <a:gd name="connsiteY1" fmla="*/ 0 h 2061703"/>
              <a:gd name="connsiteX2" fmla="*/ 2885228 w 2885228"/>
              <a:gd name="connsiteY2" fmla="*/ 2061703 h 2061703"/>
              <a:gd name="connsiteX3" fmla="*/ 198831 w 2885228"/>
              <a:gd name="connsiteY3" fmla="*/ 2061703 h 2061703"/>
              <a:gd name="connsiteX4" fmla="*/ 198831 w 2885228"/>
              <a:gd name="connsiteY4" fmla="*/ 1310028 h 2061703"/>
              <a:gd name="connsiteX5" fmla="*/ 194477 w 2885228"/>
              <a:gd name="connsiteY5" fmla="*/ 861537 h 2061703"/>
              <a:gd name="connsiteX6" fmla="*/ 198831 w 2885228"/>
              <a:gd name="connsiteY6" fmla="*/ 0 h 2061703"/>
              <a:gd name="connsiteX0" fmla="*/ 198831 w 2885228"/>
              <a:gd name="connsiteY0" fmla="*/ 0 h 2061703"/>
              <a:gd name="connsiteX1" fmla="*/ 2885228 w 2885228"/>
              <a:gd name="connsiteY1" fmla="*/ 0 h 2061703"/>
              <a:gd name="connsiteX2" fmla="*/ 2885228 w 2885228"/>
              <a:gd name="connsiteY2" fmla="*/ 2061703 h 2061703"/>
              <a:gd name="connsiteX3" fmla="*/ 198831 w 2885228"/>
              <a:gd name="connsiteY3" fmla="*/ 2061703 h 2061703"/>
              <a:gd name="connsiteX4" fmla="*/ 198831 w 2885228"/>
              <a:gd name="connsiteY4" fmla="*/ 1310028 h 2061703"/>
              <a:gd name="connsiteX5" fmla="*/ 190122 w 2885228"/>
              <a:gd name="connsiteY5" fmla="*/ 1031354 h 2061703"/>
              <a:gd name="connsiteX6" fmla="*/ 194477 w 2885228"/>
              <a:gd name="connsiteY6" fmla="*/ 861537 h 2061703"/>
              <a:gd name="connsiteX7" fmla="*/ 198831 w 288522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48398" h="2061703">
                <a:moveTo>
                  <a:pt x="762001" y="0"/>
                </a:moveTo>
                <a:lnTo>
                  <a:pt x="3448398" y="0"/>
                </a:lnTo>
                <a:lnTo>
                  <a:pt x="3448398" y="2061703"/>
                </a:lnTo>
                <a:lnTo>
                  <a:pt x="762001" y="2061703"/>
                </a:lnTo>
                <a:lnTo>
                  <a:pt x="762001" y="1310028"/>
                </a:lnTo>
                <a:lnTo>
                  <a:pt x="0" y="1105377"/>
                </a:lnTo>
                <a:lnTo>
                  <a:pt x="757647" y="861537"/>
                </a:lnTo>
                <a:cubicBezTo>
                  <a:pt x="759098" y="574358"/>
                  <a:pt x="760550" y="287179"/>
                  <a:pt x="762001" y="0"/>
                </a:cubicBezTo>
                <a:close/>
              </a:path>
            </a:pathLst>
          </a:custGeom>
          <a:solidFill>
            <a:srgbClr val="EEF2F5">
              <a:alpha val="69804"/>
            </a:srgbClr>
          </a:solidFill>
          <a:ln w="1270">
            <a:noFill/>
          </a:ln>
        </p:spPr>
        <p:txBody>
          <a:bodyPr lIns="972000" tIns="216000" rIns="180000" anchor="t" anchorCtr="0"/>
          <a:lstStyle>
            <a:lvl1pPr marL="0" indent="0" algn="l">
              <a:buNone/>
              <a:defRPr sz="1800">
                <a:solidFill>
                  <a:srgbClr val="32A2B8"/>
                </a:solidFill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719" y="644233"/>
            <a:ext cx="5245011" cy="782343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3" y="1800000"/>
            <a:ext cx="5234727" cy="4190400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375E1E1D-6476-B24E-9439-E0B9B3C87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A1FC257-F89C-4AFB-A31C-B0CED1398CDA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89A5C30F-57A2-444C-8A8A-38E4D9DFB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A0056F-9BF4-9B46-96DF-6388F205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9" name="Sisällön paikkamerkki 4">
            <a:extLst>
              <a:ext uri="{FF2B5EF4-FFF2-40B4-BE49-F238E27FC236}">
                <a16:creationId xmlns:a16="http://schemas.microsoft.com/office/drawing/2014/main" id="{9FF61159-210A-3A83-E97B-C96BB5ACE2A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820297" y="2517389"/>
            <a:ext cx="3448398" cy="2061703"/>
          </a:xfrm>
          <a:custGeom>
            <a:avLst/>
            <a:gdLst>
              <a:gd name="connsiteX0" fmla="*/ 0 w 2686397"/>
              <a:gd name="connsiteY0" fmla="*/ 0 h 2061703"/>
              <a:gd name="connsiteX1" fmla="*/ 2686397 w 2686397"/>
              <a:gd name="connsiteY1" fmla="*/ 0 h 2061703"/>
              <a:gd name="connsiteX2" fmla="*/ 2686397 w 2686397"/>
              <a:gd name="connsiteY2" fmla="*/ 2061703 h 2061703"/>
              <a:gd name="connsiteX3" fmla="*/ 0 w 2686397"/>
              <a:gd name="connsiteY3" fmla="*/ 2061703 h 2061703"/>
              <a:gd name="connsiteX4" fmla="*/ 0 w 2686397"/>
              <a:gd name="connsiteY4" fmla="*/ 0 h 2061703"/>
              <a:gd name="connsiteX0" fmla="*/ 4354 w 2690751"/>
              <a:gd name="connsiteY0" fmla="*/ 0 h 2061703"/>
              <a:gd name="connsiteX1" fmla="*/ 2690751 w 2690751"/>
              <a:gd name="connsiteY1" fmla="*/ 0 h 2061703"/>
              <a:gd name="connsiteX2" fmla="*/ 2690751 w 2690751"/>
              <a:gd name="connsiteY2" fmla="*/ 2061703 h 2061703"/>
              <a:gd name="connsiteX3" fmla="*/ 4354 w 2690751"/>
              <a:gd name="connsiteY3" fmla="*/ 2061703 h 2061703"/>
              <a:gd name="connsiteX4" fmla="*/ 0 w 2690751"/>
              <a:gd name="connsiteY4" fmla="*/ 861537 h 2061703"/>
              <a:gd name="connsiteX5" fmla="*/ 4354 w 2690751"/>
              <a:gd name="connsiteY5" fmla="*/ 0 h 2061703"/>
              <a:gd name="connsiteX0" fmla="*/ 198831 w 2885228"/>
              <a:gd name="connsiteY0" fmla="*/ 0 h 2061703"/>
              <a:gd name="connsiteX1" fmla="*/ 2885228 w 2885228"/>
              <a:gd name="connsiteY1" fmla="*/ 0 h 2061703"/>
              <a:gd name="connsiteX2" fmla="*/ 2885228 w 2885228"/>
              <a:gd name="connsiteY2" fmla="*/ 2061703 h 2061703"/>
              <a:gd name="connsiteX3" fmla="*/ 198831 w 2885228"/>
              <a:gd name="connsiteY3" fmla="*/ 2061703 h 2061703"/>
              <a:gd name="connsiteX4" fmla="*/ 198831 w 2885228"/>
              <a:gd name="connsiteY4" fmla="*/ 1310028 h 2061703"/>
              <a:gd name="connsiteX5" fmla="*/ 194477 w 2885228"/>
              <a:gd name="connsiteY5" fmla="*/ 861537 h 2061703"/>
              <a:gd name="connsiteX6" fmla="*/ 198831 w 2885228"/>
              <a:gd name="connsiteY6" fmla="*/ 0 h 2061703"/>
              <a:gd name="connsiteX0" fmla="*/ 198831 w 2885228"/>
              <a:gd name="connsiteY0" fmla="*/ 0 h 2061703"/>
              <a:gd name="connsiteX1" fmla="*/ 2885228 w 2885228"/>
              <a:gd name="connsiteY1" fmla="*/ 0 h 2061703"/>
              <a:gd name="connsiteX2" fmla="*/ 2885228 w 2885228"/>
              <a:gd name="connsiteY2" fmla="*/ 2061703 h 2061703"/>
              <a:gd name="connsiteX3" fmla="*/ 198831 w 2885228"/>
              <a:gd name="connsiteY3" fmla="*/ 2061703 h 2061703"/>
              <a:gd name="connsiteX4" fmla="*/ 198831 w 2885228"/>
              <a:gd name="connsiteY4" fmla="*/ 1310028 h 2061703"/>
              <a:gd name="connsiteX5" fmla="*/ 190122 w 2885228"/>
              <a:gd name="connsiteY5" fmla="*/ 1031354 h 2061703"/>
              <a:gd name="connsiteX6" fmla="*/ 194477 w 2885228"/>
              <a:gd name="connsiteY6" fmla="*/ 861537 h 2061703"/>
              <a:gd name="connsiteX7" fmla="*/ 198831 w 288522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48398" h="2061703">
                <a:moveTo>
                  <a:pt x="762001" y="0"/>
                </a:moveTo>
                <a:lnTo>
                  <a:pt x="3448398" y="0"/>
                </a:lnTo>
                <a:lnTo>
                  <a:pt x="3448398" y="2061703"/>
                </a:lnTo>
                <a:lnTo>
                  <a:pt x="762001" y="2061703"/>
                </a:lnTo>
                <a:lnTo>
                  <a:pt x="762001" y="1310028"/>
                </a:lnTo>
                <a:lnTo>
                  <a:pt x="0" y="1105377"/>
                </a:lnTo>
                <a:lnTo>
                  <a:pt x="757647" y="861537"/>
                </a:lnTo>
                <a:cubicBezTo>
                  <a:pt x="759098" y="574358"/>
                  <a:pt x="760550" y="287179"/>
                  <a:pt x="762001" y="0"/>
                </a:cubicBezTo>
                <a:close/>
              </a:path>
            </a:pathLst>
          </a:custGeom>
          <a:solidFill>
            <a:srgbClr val="FEF8EC">
              <a:alpha val="69804"/>
            </a:srgbClr>
          </a:solidFill>
          <a:ln w="1270">
            <a:noFill/>
          </a:ln>
        </p:spPr>
        <p:txBody>
          <a:bodyPr lIns="972000" tIns="216000" rIns="180000" anchor="t" anchorCtr="0"/>
          <a:lstStyle>
            <a:lvl1pPr marL="0" indent="0" algn="l">
              <a:buNone/>
              <a:defRPr sz="1800">
                <a:solidFill>
                  <a:srgbClr val="32A2B8"/>
                </a:solidFill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Sisällön paikkamerkki 4">
            <a:extLst>
              <a:ext uri="{FF2B5EF4-FFF2-40B4-BE49-F238E27FC236}">
                <a16:creationId xmlns:a16="http://schemas.microsoft.com/office/drawing/2014/main" id="{EE903773-64D2-2CCE-4368-58F4C169E3C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00502" y="4129100"/>
            <a:ext cx="3448398" cy="2061703"/>
          </a:xfrm>
          <a:custGeom>
            <a:avLst/>
            <a:gdLst>
              <a:gd name="connsiteX0" fmla="*/ 0 w 2686397"/>
              <a:gd name="connsiteY0" fmla="*/ 0 h 2061703"/>
              <a:gd name="connsiteX1" fmla="*/ 2686397 w 2686397"/>
              <a:gd name="connsiteY1" fmla="*/ 0 h 2061703"/>
              <a:gd name="connsiteX2" fmla="*/ 2686397 w 2686397"/>
              <a:gd name="connsiteY2" fmla="*/ 2061703 h 2061703"/>
              <a:gd name="connsiteX3" fmla="*/ 0 w 2686397"/>
              <a:gd name="connsiteY3" fmla="*/ 2061703 h 2061703"/>
              <a:gd name="connsiteX4" fmla="*/ 0 w 2686397"/>
              <a:gd name="connsiteY4" fmla="*/ 0 h 2061703"/>
              <a:gd name="connsiteX0" fmla="*/ 4354 w 2690751"/>
              <a:gd name="connsiteY0" fmla="*/ 0 h 2061703"/>
              <a:gd name="connsiteX1" fmla="*/ 2690751 w 2690751"/>
              <a:gd name="connsiteY1" fmla="*/ 0 h 2061703"/>
              <a:gd name="connsiteX2" fmla="*/ 2690751 w 2690751"/>
              <a:gd name="connsiteY2" fmla="*/ 2061703 h 2061703"/>
              <a:gd name="connsiteX3" fmla="*/ 4354 w 2690751"/>
              <a:gd name="connsiteY3" fmla="*/ 2061703 h 2061703"/>
              <a:gd name="connsiteX4" fmla="*/ 0 w 2690751"/>
              <a:gd name="connsiteY4" fmla="*/ 861537 h 2061703"/>
              <a:gd name="connsiteX5" fmla="*/ 4354 w 2690751"/>
              <a:gd name="connsiteY5" fmla="*/ 0 h 2061703"/>
              <a:gd name="connsiteX0" fmla="*/ 198831 w 2885228"/>
              <a:gd name="connsiteY0" fmla="*/ 0 h 2061703"/>
              <a:gd name="connsiteX1" fmla="*/ 2885228 w 2885228"/>
              <a:gd name="connsiteY1" fmla="*/ 0 h 2061703"/>
              <a:gd name="connsiteX2" fmla="*/ 2885228 w 2885228"/>
              <a:gd name="connsiteY2" fmla="*/ 2061703 h 2061703"/>
              <a:gd name="connsiteX3" fmla="*/ 198831 w 2885228"/>
              <a:gd name="connsiteY3" fmla="*/ 2061703 h 2061703"/>
              <a:gd name="connsiteX4" fmla="*/ 198831 w 2885228"/>
              <a:gd name="connsiteY4" fmla="*/ 1310028 h 2061703"/>
              <a:gd name="connsiteX5" fmla="*/ 194477 w 2885228"/>
              <a:gd name="connsiteY5" fmla="*/ 861537 h 2061703"/>
              <a:gd name="connsiteX6" fmla="*/ 198831 w 2885228"/>
              <a:gd name="connsiteY6" fmla="*/ 0 h 2061703"/>
              <a:gd name="connsiteX0" fmla="*/ 198831 w 2885228"/>
              <a:gd name="connsiteY0" fmla="*/ 0 h 2061703"/>
              <a:gd name="connsiteX1" fmla="*/ 2885228 w 2885228"/>
              <a:gd name="connsiteY1" fmla="*/ 0 h 2061703"/>
              <a:gd name="connsiteX2" fmla="*/ 2885228 w 2885228"/>
              <a:gd name="connsiteY2" fmla="*/ 2061703 h 2061703"/>
              <a:gd name="connsiteX3" fmla="*/ 198831 w 2885228"/>
              <a:gd name="connsiteY3" fmla="*/ 2061703 h 2061703"/>
              <a:gd name="connsiteX4" fmla="*/ 198831 w 2885228"/>
              <a:gd name="connsiteY4" fmla="*/ 1310028 h 2061703"/>
              <a:gd name="connsiteX5" fmla="*/ 190122 w 2885228"/>
              <a:gd name="connsiteY5" fmla="*/ 1031354 h 2061703"/>
              <a:gd name="connsiteX6" fmla="*/ 194477 w 2885228"/>
              <a:gd name="connsiteY6" fmla="*/ 861537 h 2061703"/>
              <a:gd name="connsiteX7" fmla="*/ 198831 w 288522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  <a:gd name="connsiteX0" fmla="*/ 762001 w 3448398"/>
              <a:gd name="connsiteY0" fmla="*/ 0 h 2061703"/>
              <a:gd name="connsiteX1" fmla="*/ 3448398 w 3448398"/>
              <a:gd name="connsiteY1" fmla="*/ 0 h 2061703"/>
              <a:gd name="connsiteX2" fmla="*/ 3448398 w 3448398"/>
              <a:gd name="connsiteY2" fmla="*/ 2061703 h 2061703"/>
              <a:gd name="connsiteX3" fmla="*/ 762001 w 3448398"/>
              <a:gd name="connsiteY3" fmla="*/ 2061703 h 2061703"/>
              <a:gd name="connsiteX4" fmla="*/ 762001 w 3448398"/>
              <a:gd name="connsiteY4" fmla="*/ 1310028 h 2061703"/>
              <a:gd name="connsiteX5" fmla="*/ 0 w 3448398"/>
              <a:gd name="connsiteY5" fmla="*/ 1105377 h 2061703"/>
              <a:gd name="connsiteX6" fmla="*/ 757647 w 3448398"/>
              <a:gd name="connsiteY6" fmla="*/ 861537 h 2061703"/>
              <a:gd name="connsiteX7" fmla="*/ 762001 w 3448398"/>
              <a:gd name="connsiteY7" fmla="*/ 0 h 2061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48398" h="2061703">
                <a:moveTo>
                  <a:pt x="762001" y="0"/>
                </a:moveTo>
                <a:lnTo>
                  <a:pt x="3448398" y="0"/>
                </a:lnTo>
                <a:lnTo>
                  <a:pt x="3448398" y="2061703"/>
                </a:lnTo>
                <a:lnTo>
                  <a:pt x="762001" y="2061703"/>
                </a:lnTo>
                <a:lnTo>
                  <a:pt x="762001" y="1310028"/>
                </a:lnTo>
                <a:lnTo>
                  <a:pt x="0" y="1105377"/>
                </a:lnTo>
                <a:lnTo>
                  <a:pt x="757647" y="861537"/>
                </a:lnTo>
                <a:cubicBezTo>
                  <a:pt x="759098" y="574358"/>
                  <a:pt x="760550" y="287179"/>
                  <a:pt x="762001" y="0"/>
                </a:cubicBezTo>
                <a:close/>
              </a:path>
            </a:pathLst>
          </a:custGeom>
          <a:solidFill>
            <a:srgbClr val="F9DD9F">
              <a:alpha val="70000"/>
            </a:srgbClr>
          </a:solidFill>
          <a:ln w="1270">
            <a:noFill/>
          </a:ln>
        </p:spPr>
        <p:txBody>
          <a:bodyPr lIns="972000" tIns="216000" rIns="180000" anchor="t" anchorCtr="0"/>
          <a:lstStyle>
            <a:lvl1pPr marL="0" indent="0" algn="l">
              <a:buNone/>
              <a:defRPr sz="1800">
                <a:solidFill>
                  <a:srgbClr val="32A2B8"/>
                </a:solidFill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5811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elementi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EFE9A521-BC5F-C165-4650-182870D90A1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00746" y="556389"/>
            <a:ext cx="3110951" cy="2609976"/>
          </a:xfrm>
          <a:custGeom>
            <a:avLst/>
            <a:gdLst>
              <a:gd name="connsiteX0" fmla="*/ 0 w 3092768"/>
              <a:gd name="connsiteY0" fmla="*/ 1234441 h 2468881"/>
              <a:gd name="connsiteX1" fmla="*/ 1546384 w 3092768"/>
              <a:gd name="connsiteY1" fmla="*/ 0 h 2468881"/>
              <a:gd name="connsiteX2" fmla="*/ 3092768 w 3092768"/>
              <a:gd name="connsiteY2" fmla="*/ 1234441 h 2468881"/>
              <a:gd name="connsiteX3" fmla="*/ 1546384 w 3092768"/>
              <a:gd name="connsiteY3" fmla="*/ 2468882 h 2468881"/>
              <a:gd name="connsiteX4" fmla="*/ 0 w 3092768"/>
              <a:gd name="connsiteY4" fmla="*/ 1234441 h 2468881"/>
              <a:gd name="connsiteX0" fmla="*/ 54216 w 3146984"/>
              <a:gd name="connsiteY0" fmla="*/ 1234441 h 2501200"/>
              <a:gd name="connsiteX1" fmla="*/ 1600600 w 3146984"/>
              <a:gd name="connsiteY1" fmla="*/ 0 h 2501200"/>
              <a:gd name="connsiteX2" fmla="*/ 3146984 w 3146984"/>
              <a:gd name="connsiteY2" fmla="*/ 1234441 h 2501200"/>
              <a:gd name="connsiteX3" fmla="*/ 1600600 w 3146984"/>
              <a:gd name="connsiteY3" fmla="*/ 2468882 h 2501200"/>
              <a:gd name="connsiteX4" fmla="*/ 467873 w 3146984"/>
              <a:gd name="connsiteY4" fmla="*/ 2063932 h 2501200"/>
              <a:gd name="connsiteX5" fmla="*/ 54216 w 3146984"/>
              <a:gd name="connsiteY5" fmla="*/ 1234441 h 2501200"/>
              <a:gd name="connsiteX0" fmla="*/ 54216 w 3146984"/>
              <a:gd name="connsiteY0" fmla="*/ 1234441 h 2543507"/>
              <a:gd name="connsiteX1" fmla="*/ 1600600 w 3146984"/>
              <a:gd name="connsiteY1" fmla="*/ 0 h 2543507"/>
              <a:gd name="connsiteX2" fmla="*/ 3146984 w 3146984"/>
              <a:gd name="connsiteY2" fmla="*/ 1234441 h 2543507"/>
              <a:gd name="connsiteX3" fmla="*/ 1600600 w 3146984"/>
              <a:gd name="connsiteY3" fmla="*/ 2468882 h 2543507"/>
              <a:gd name="connsiteX4" fmla="*/ 912010 w 3146984"/>
              <a:gd name="connsiteY4" fmla="*/ 2368731 h 2543507"/>
              <a:gd name="connsiteX5" fmla="*/ 467873 w 3146984"/>
              <a:gd name="connsiteY5" fmla="*/ 2063932 h 2543507"/>
              <a:gd name="connsiteX6" fmla="*/ 54216 w 3146984"/>
              <a:gd name="connsiteY6" fmla="*/ 1234441 h 2543507"/>
              <a:gd name="connsiteX0" fmla="*/ 54216 w 3146984"/>
              <a:gd name="connsiteY0" fmla="*/ 1234441 h 2538781"/>
              <a:gd name="connsiteX1" fmla="*/ 1600600 w 3146984"/>
              <a:gd name="connsiteY1" fmla="*/ 0 h 2538781"/>
              <a:gd name="connsiteX2" fmla="*/ 3146984 w 3146984"/>
              <a:gd name="connsiteY2" fmla="*/ 1234441 h 2538781"/>
              <a:gd name="connsiteX3" fmla="*/ 1600600 w 3146984"/>
              <a:gd name="connsiteY3" fmla="*/ 2468882 h 2538781"/>
              <a:gd name="connsiteX4" fmla="*/ 912010 w 3146984"/>
              <a:gd name="connsiteY4" fmla="*/ 2368731 h 2538781"/>
              <a:gd name="connsiteX5" fmla="*/ 642045 w 3146984"/>
              <a:gd name="connsiteY5" fmla="*/ 2233748 h 2538781"/>
              <a:gd name="connsiteX6" fmla="*/ 467873 w 3146984"/>
              <a:gd name="connsiteY6" fmla="*/ 2063932 h 2538781"/>
              <a:gd name="connsiteX7" fmla="*/ 54216 w 3146984"/>
              <a:gd name="connsiteY7" fmla="*/ 1234441 h 2538781"/>
              <a:gd name="connsiteX0" fmla="*/ 54216 w 3146984"/>
              <a:gd name="connsiteY0" fmla="*/ 1234441 h 2609265"/>
              <a:gd name="connsiteX1" fmla="*/ 1600600 w 3146984"/>
              <a:gd name="connsiteY1" fmla="*/ 0 h 2609265"/>
              <a:gd name="connsiteX2" fmla="*/ 3146984 w 3146984"/>
              <a:gd name="connsiteY2" fmla="*/ 1234441 h 2609265"/>
              <a:gd name="connsiteX3" fmla="*/ 1600600 w 3146984"/>
              <a:gd name="connsiteY3" fmla="*/ 2468882 h 2609265"/>
              <a:gd name="connsiteX4" fmla="*/ 912010 w 3146984"/>
              <a:gd name="connsiteY4" fmla="*/ 2368731 h 2609265"/>
              <a:gd name="connsiteX5" fmla="*/ 311120 w 3146984"/>
              <a:gd name="connsiteY5" fmla="*/ 2603862 h 2609265"/>
              <a:gd name="connsiteX6" fmla="*/ 467873 w 3146984"/>
              <a:gd name="connsiteY6" fmla="*/ 2063932 h 2609265"/>
              <a:gd name="connsiteX7" fmla="*/ 54216 w 3146984"/>
              <a:gd name="connsiteY7" fmla="*/ 1234441 h 2609265"/>
              <a:gd name="connsiteX0" fmla="*/ 54216 w 3146984"/>
              <a:gd name="connsiteY0" fmla="*/ 1234441 h 2609265"/>
              <a:gd name="connsiteX1" fmla="*/ 1600600 w 3146984"/>
              <a:gd name="connsiteY1" fmla="*/ 0 h 2609265"/>
              <a:gd name="connsiteX2" fmla="*/ 3146984 w 3146984"/>
              <a:gd name="connsiteY2" fmla="*/ 1234441 h 2609265"/>
              <a:gd name="connsiteX3" fmla="*/ 1600600 w 3146984"/>
              <a:gd name="connsiteY3" fmla="*/ 2468882 h 2609265"/>
              <a:gd name="connsiteX4" fmla="*/ 912010 w 3146984"/>
              <a:gd name="connsiteY4" fmla="*/ 2368731 h 2609265"/>
              <a:gd name="connsiteX5" fmla="*/ 311120 w 3146984"/>
              <a:gd name="connsiteY5" fmla="*/ 2603862 h 2609265"/>
              <a:gd name="connsiteX6" fmla="*/ 467873 w 3146984"/>
              <a:gd name="connsiteY6" fmla="*/ 2063932 h 2609265"/>
              <a:gd name="connsiteX7" fmla="*/ 54216 w 3146984"/>
              <a:gd name="connsiteY7" fmla="*/ 1234441 h 2609265"/>
              <a:gd name="connsiteX0" fmla="*/ 54216 w 3146984"/>
              <a:gd name="connsiteY0" fmla="*/ 1234441 h 2603862"/>
              <a:gd name="connsiteX1" fmla="*/ 1600600 w 3146984"/>
              <a:gd name="connsiteY1" fmla="*/ 0 h 2603862"/>
              <a:gd name="connsiteX2" fmla="*/ 3146984 w 3146984"/>
              <a:gd name="connsiteY2" fmla="*/ 1234441 h 2603862"/>
              <a:gd name="connsiteX3" fmla="*/ 1600600 w 3146984"/>
              <a:gd name="connsiteY3" fmla="*/ 2468882 h 2603862"/>
              <a:gd name="connsiteX4" fmla="*/ 912010 w 3146984"/>
              <a:gd name="connsiteY4" fmla="*/ 2368731 h 2603862"/>
              <a:gd name="connsiteX5" fmla="*/ 311120 w 3146984"/>
              <a:gd name="connsiteY5" fmla="*/ 2603862 h 2603862"/>
              <a:gd name="connsiteX6" fmla="*/ 467873 w 3146984"/>
              <a:gd name="connsiteY6" fmla="*/ 2063932 h 2603862"/>
              <a:gd name="connsiteX7" fmla="*/ 54216 w 3146984"/>
              <a:gd name="connsiteY7" fmla="*/ 1234441 h 2603862"/>
              <a:gd name="connsiteX0" fmla="*/ 420 w 3093188"/>
              <a:gd name="connsiteY0" fmla="*/ 1234441 h 2603862"/>
              <a:gd name="connsiteX1" fmla="*/ 1546804 w 3093188"/>
              <a:gd name="connsiteY1" fmla="*/ 0 h 2603862"/>
              <a:gd name="connsiteX2" fmla="*/ 3093188 w 3093188"/>
              <a:gd name="connsiteY2" fmla="*/ 1234441 h 2603862"/>
              <a:gd name="connsiteX3" fmla="*/ 1546804 w 3093188"/>
              <a:gd name="connsiteY3" fmla="*/ 2468882 h 2603862"/>
              <a:gd name="connsiteX4" fmla="*/ 858214 w 3093188"/>
              <a:gd name="connsiteY4" fmla="*/ 2368731 h 2603862"/>
              <a:gd name="connsiteX5" fmla="*/ 257324 w 3093188"/>
              <a:gd name="connsiteY5" fmla="*/ 2603862 h 2603862"/>
              <a:gd name="connsiteX6" fmla="*/ 414077 w 3093188"/>
              <a:gd name="connsiteY6" fmla="*/ 2063932 h 2603862"/>
              <a:gd name="connsiteX7" fmla="*/ 420 w 3093188"/>
              <a:gd name="connsiteY7" fmla="*/ 1234441 h 2603862"/>
              <a:gd name="connsiteX0" fmla="*/ 288 w 3093056"/>
              <a:gd name="connsiteY0" fmla="*/ 1113011 h 2604352"/>
              <a:gd name="connsiteX1" fmla="*/ 1546672 w 3093056"/>
              <a:gd name="connsiteY1" fmla="*/ 490 h 2604352"/>
              <a:gd name="connsiteX2" fmla="*/ 3093056 w 3093056"/>
              <a:gd name="connsiteY2" fmla="*/ 1234931 h 2604352"/>
              <a:gd name="connsiteX3" fmla="*/ 1546672 w 3093056"/>
              <a:gd name="connsiteY3" fmla="*/ 2469372 h 2604352"/>
              <a:gd name="connsiteX4" fmla="*/ 858082 w 3093056"/>
              <a:gd name="connsiteY4" fmla="*/ 2369221 h 2604352"/>
              <a:gd name="connsiteX5" fmla="*/ 257192 w 3093056"/>
              <a:gd name="connsiteY5" fmla="*/ 2604352 h 2604352"/>
              <a:gd name="connsiteX6" fmla="*/ 413945 w 3093056"/>
              <a:gd name="connsiteY6" fmla="*/ 2064422 h 2604352"/>
              <a:gd name="connsiteX7" fmla="*/ 288 w 3093056"/>
              <a:gd name="connsiteY7" fmla="*/ 1113011 h 2604352"/>
              <a:gd name="connsiteX0" fmla="*/ 449 w 3093217"/>
              <a:gd name="connsiteY0" fmla="*/ 1113063 h 2604404"/>
              <a:gd name="connsiteX1" fmla="*/ 1546833 w 3093217"/>
              <a:gd name="connsiteY1" fmla="*/ 542 h 2604404"/>
              <a:gd name="connsiteX2" fmla="*/ 3093217 w 3093217"/>
              <a:gd name="connsiteY2" fmla="*/ 1234983 h 2604404"/>
              <a:gd name="connsiteX3" fmla="*/ 1546833 w 3093217"/>
              <a:gd name="connsiteY3" fmla="*/ 2469424 h 2604404"/>
              <a:gd name="connsiteX4" fmla="*/ 858243 w 3093217"/>
              <a:gd name="connsiteY4" fmla="*/ 2369273 h 2604404"/>
              <a:gd name="connsiteX5" fmla="*/ 257353 w 3093217"/>
              <a:gd name="connsiteY5" fmla="*/ 2604404 h 2604404"/>
              <a:gd name="connsiteX6" fmla="*/ 414106 w 3093217"/>
              <a:gd name="connsiteY6" fmla="*/ 2064474 h 2604404"/>
              <a:gd name="connsiteX7" fmla="*/ 449 w 3093217"/>
              <a:gd name="connsiteY7" fmla="*/ 1113063 h 2604404"/>
              <a:gd name="connsiteX0" fmla="*/ 449 w 3093217"/>
              <a:gd name="connsiteY0" fmla="*/ 1112524 h 2603865"/>
              <a:gd name="connsiteX1" fmla="*/ 1546833 w 3093217"/>
              <a:gd name="connsiteY1" fmla="*/ 3 h 2603865"/>
              <a:gd name="connsiteX2" fmla="*/ 3093217 w 3093217"/>
              <a:gd name="connsiteY2" fmla="*/ 1234444 h 2603865"/>
              <a:gd name="connsiteX3" fmla="*/ 1546833 w 3093217"/>
              <a:gd name="connsiteY3" fmla="*/ 2468885 h 2603865"/>
              <a:gd name="connsiteX4" fmla="*/ 858243 w 3093217"/>
              <a:gd name="connsiteY4" fmla="*/ 2368734 h 2603865"/>
              <a:gd name="connsiteX5" fmla="*/ 257353 w 3093217"/>
              <a:gd name="connsiteY5" fmla="*/ 2603865 h 2603865"/>
              <a:gd name="connsiteX6" fmla="*/ 414106 w 3093217"/>
              <a:gd name="connsiteY6" fmla="*/ 2063935 h 2603865"/>
              <a:gd name="connsiteX7" fmla="*/ 449 w 3093217"/>
              <a:gd name="connsiteY7" fmla="*/ 1112524 h 2603865"/>
              <a:gd name="connsiteX0" fmla="*/ 449 w 3123697"/>
              <a:gd name="connsiteY0" fmla="*/ 1113026 h 2604367"/>
              <a:gd name="connsiteX1" fmla="*/ 1546833 w 3123697"/>
              <a:gd name="connsiteY1" fmla="*/ 505 h 2604367"/>
              <a:gd name="connsiteX2" fmla="*/ 3123697 w 3123697"/>
              <a:gd name="connsiteY2" fmla="*/ 1230592 h 2604367"/>
              <a:gd name="connsiteX3" fmla="*/ 1546833 w 3123697"/>
              <a:gd name="connsiteY3" fmla="*/ 2469387 h 2604367"/>
              <a:gd name="connsiteX4" fmla="*/ 858243 w 3123697"/>
              <a:gd name="connsiteY4" fmla="*/ 2369236 h 2604367"/>
              <a:gd name="connsiteX5" fmla="*/ 257353 w 3123697"/>
              <a:gd name="connsiteY5" fmla="*/ 2604367 h 2604367"/>
              <a:gd name="connsiteX6" fmla="*/ 414106 w 3123697"/>
              <a:gd name="connsiteY6" fmla="*/ 2064437 h 2604367"/>
              <a:gd name="connsiteX7" fmla="*/ 449 w 3123697"/>
              <a:gd name="connsiteY7" fmla="*/ 1113026 h 2604367"/>
              <a:gd name="connsiteX0" fmla="*/ 449 w 3125777"/>
              <a:gd name="connsiteY0" fmla="*/ 1113026 h 2604367"/>
              <a:gd name="connsiteX1" fmla="*/ 1546833 w 3125777"/>
              <a:gd name="connsiteY1" fmla="*/ 505 h 2604367"/>
              <a:gd name="connsiteX2" fmla="*/ 3123697 w 3125777"/>
              <a:gd name="connsiteY2" fmla="*/ 1230592 h 2604367"/>
              <a:gd name="connsiteX3" fmla="*/ 1546833 w 3125777"/>
              <a:gd name="connsiteY3" fmla="*/ 2469387 h 2604367"/>
              <a:gd name="connsiteX4" fmla="*/ 858243 w 3125777"/>
              <a:gd name="connsiteY4" fmla="*/ 2369236 h 2604367"/>
              <a:gd name="connsiteX5" fmla="*/ 257353 w 3125777"/>
              <a:gd name="connsiteY5" fmla="*/ 2604367 h 2604367"/>
              <a:gd name="connsiteX6" fmla="*/ 414106 w 3125777"/>
              <a:gd name="connsiteY6" fmla="*/ 2064437 h 2604367"/>
              <a:gd name="connsiteX7" fmla="*/ 449 w 3125777"/>
              <a:gd name="connsiteY7" fmla="*/ 1113026 h 2604367"/>
              <a:gd name="connsiteX0" fmla="*/ 449 w 3123697"/>
              <a:gd name="connsiteY0" fmla="*/ 1113026 h 2604367"/>
              <a:gd name="connsiteX1" fmla="*/ 1546833 w 3123697"/>
              <a:gd name="connsiteY1" fmla="*/ 505 h 2604367"/>
              <a:gd name="connsiteX2" fmla="*/ 3123697 w 3123697"/>
              <a:gd name="connsiteY2" fmla="*/ 1230592 h 2604367"/>
              <a:gd name="connsiteX3" fmla="*/ 1546833 w 3123697"/>
              <a:gd name="connsiteY3" fmla="*/ 2469387 h 2604367"/>
              <a:gd name="connsiteX4" fmla="*/ 858243 w 3123697"/>
              <a:gd name="connsiteY4" fmla="*/ 2369236 h 2604367"/>
              <a:gd name="connsiteX5" fmla="*/ 257353 w 3123697"/>
              <a:gd name="connsiteY5" fmla="*/ 2604367 h 2604367"/>
              <a:gd name="connsiteX6" fmla="*/ 414106 w 3123697"/>
              <a:gd name="connsiteY6" fmla="*/ 2064437 h 2604367"/>
              <a:gd name="connsiteX7" fmla="*/ 449 w 3123697"/>
              <a:gd name="connsiteY7" fmla="*/ 1113026 h 2604367"/>
              <a:gd name="connsiteX0" fmla="*/ 449 w 3125481"/>
              <a:gd name="connsiteY0" fmla="*/ 1113026 h 2604367"/>
              <a:gd name="connsiteX1" fmla="*/ 1546833 w 3125481"/>
              <a:gd name="connsiteY1" fmla="*/ 505 h 2604367"/>
              <a:gd name="connsiteX2" fmla="*/ 3123697 w 3125481"/>
              <a:gd name="connsiteY2" fmla="*/ 1230592 h 2604367"/>
              <a:gd name="connsiteX3" fmla="*/ 1546833 w 3125481"/>
              <a:gd name="connsiteY3" fmla="*/ 2469387 h 2604367"/>
              <a:gd name="connsiteX4" fmla="*/ 858243 w 3125481"/>
              <a:gd name="connsiteY4" fmla="*/ 2369236 h 2604367"/>
              <a:gd name="connsiteX5" fmla="*/ 257353 w 3125481"/>
              <a:gd name="connsiteY5" fmla="*/ 2604367 h 2604367"/>
              <a:gd name="connsiteX6" fmla="*/ 414106 w 3125481"/>
              <a:gd name="connsiteY6" fmla="*/ 2064437 h 2604367"/>
              <a:gd name="connsiteX7" fmla="*/ 449 w 3125481"/>
              <a:gd name="connsiteY7" fmla="*/ 1113026 h 2604367"/>
              <a:gd name="connsiteX0" fmla="*/ 449 w 3125481"/>
              <a:gd name="connsiteY0" fmla="*/ 1113026 h 2604367"/>
              <a:gd name="connsiteX1" fmla="*/ 1546833 w 3125481"/>
              <a:gd name="connsiteY1" fmla="*/ 505 h 2604367"/>
              <a:gd name="connsiteX2" fmla="*/ 3123697 w 3125481"/>
              <a:gd name="connsiteY2" fmla="*/ 1230592 h 2604367"/>
              <a:gd name="connsiteX3" fmla="*/ 1546833 w 3125481"/>
              <a:gd name="connsiteY3" fmla="*/ 2469387 h 2604367"/>
              <a:gd name="connsiteX4" fmla="*/ 858243 w 3125481"/>
              <a:gd name="connsiteY4" fmla="*/ 2369236 h 2604367"/>
              <a:gd name="connsiteX5" fmla="*/ 257353 w 3125481"/>
              <a:gd name="connsiteY5" fmla="*/ 2604367 h 2604367"/>
              <a:gd name="connsiteX6" fmla="*/ 414106 w 3125481"/>
              <a:gd name="connsiteY6" fmla="*/ 2064437 h 2604367"/>
              <a:gd name="connsiteX7" fmla="*/ 449 w 3125481"/>
              <a:gd name="connsiteY7" fmla="*/ 1113026 h 2604367"/>
              <a:gd name="connsiteX0" fmla="*/ 449 w 3123778"/>
              <a:gd name="connsiteY0" fmla="*/ 1113026 h 2604367"/>
              <a:gd name="connsiteX1" fmla="*/ 1546833 w 3123778"/>
              <a:gd name="connsiteY1" fmla="*/ 505 h 2604367"/>
              <a:gd name="connsiteX2" fmla="*/ 3123697 w 3123778"/>
              <a:gd name="connsiteY2" fmla="*/ 1230592 h 2604367"/>
              <a:gd name="connsiteX3" fmla="*/ 1612147 w 3123778"/>
              <a:gd name="connsiteY3" fmla="*/ 2447616 h 2604367"/>
              <a:gd name="connsiteX4" fmla="*/ 858243 w 3123778"/>
              <a:gd name="connsiteY4" fmla="*/ 2369236 h 2604367"/>
              <a:gd name="connsiteX5" fmla="*/ 257353 w 3123778"/>
              <a:gd name="connsiteY5" fmla="*/ 2604367 h 2604367"/>
              <a:gd name="connsiteX6" fmla="*/ 414106 w 3123778"/>
              <a:gd name="connsiteY6" fmla="*/ 2064437 h 2604367"/>
              <a:gd name="connsiteX7" fmla="*/ 449 w 3123778"/>
              <a:gd name="connsiteY7" fmla="*/ 1113026 h 2604367"/>
              <a:gd name="connsiteX0" fmla="*/ 449 w 3123773"/>
              <a:gd name="connsiteY0" fmla="*/ 1113026 h 2604367"/>
              <a:gd name="connsiteX1" fmla="*/ 1546833 w 3123773"/>
              <a:gd name="connsiteY1" fmla="*/ 505 h 2604367"/>
              <a:gd name="connsiteX2" fmla="*/ 3123697 w 3123773"/>
              <a:gd name="connsiteY2" fmla="*/ 1230592 h 2604367"/>
              <a:gd name="connsiteX3" fmla="*/ 1612147 w 3123773"/>
              <a:gd name="connsiteY3" fmla="*/ 2447616 h 2604367"/>
              <a:gd name="connsiteX4" fmla="*/ 875660 w 3123773"/>
              <a:gd name="connsiteY4" fmla="*/ 2356173 h 2604367"/>
              <a:gd name="connsiteX5" fmla="*/ 257353 w 3123773"/>
              <a:gd name="connsiteY5" fmla="*/ 2604367 h 2604367"/>
              <a:gd name="connsiteX6" fmla="*/ 414106 w 3123773"/>
              <a:gd name="connsiteY6" fmla="*/ 2064437 h 2604367"/>
              <a:gd name="connsiteX7" fmla="*/ 449 w 3123773"/>
              <a:gd name="connsiteY7" fmla="*/ 1113026 h 2604367"/>
              <a:gd name="connsiteX0" fmla="*/ 449 w 3128329"/>
              <a:gd name="connsiteY0" fmla="*/ 1113026 h 2604367"/>
              <a:gd name="connsiteX1" fmla="*/ 1546833 w 3128329"/>
              <a:gd name="connsiteY1" fmla="*/ 505 h 2604367"/>
              <a:gd name="connsiteX2" fmla="*/ 3123697 w 3128329"/>
              <a:gd name="connsiteY2" fmla="*/ 1230592 h 2604367"/>
              <a:gd name="connsiteX3" fmla="*/ 1990970 w 3128329"/>
              <a:gd name="connsiteY3" fmla="*/ 2421490 h 2604367"/>
              <a:gd name="connsiteX4" fmla="*/ 875660 w 3128329"/>
              <a:gd name="connsiteY4" fmla="*/ 2356173 h 2604367"/>
              <a:gd name="connsiteX5" fmla="*/ 257353 w 3128329"/>
              <a:gd name="connsiteY5" fmla="*/ 2604367 h 2604367"/>
              <a:gd name="connsiteX6" fmla="*/ 414106 w 3128329"/>
              <a:gd name="connsiteY6" fmla="*/ 2064437 h 2604367"/>
              <a:gd name="connsiteX7" fmla="*/ 449 w 3128329"/>
              <a:gd name="connsiteY7" fmla="*/ 1113026 h 2604367"/>
              <a:gd name="connsiteX0" fmla="*/ 449 w 3128741"/>
              <a:gd name="connsiteY0" fmla="*/ 1113026 h 2604367"/>
              <a:gd name="connsiteX1" fmla="*/ 1546833 w 3128741"/>
              <a:gd name="connsiteY1" fmla="*/ 505 h 2604367"/>
              <a:gd name="connsiteX2" fmla="*/ 3123697 w 3128741"/>
              <a:gd name="connsiteY2" fmla="*/ 1230592 h 2604367"/>
              <a:gd name="connsiteX3" fmla="*/ 1990970 w 3128741"/>
              <a:gd name="connsiteY3" fmla="*/ 2421490 h 2604367"/>
              <a:gd name="connsiteX4" fmla="*/ 875660 w 3128741"/>
              <a:gd name="connsiteY4" fmla="*/ 2356173 h 2604367"/>
              <a:gd name="connsiteX5" fmla="*/ 257353 w 3128741"/>
              <a:gd name="connsiteY5" fmla="*/ 2604367 h 2604367"/>
              <a:gd name="connsiteX6" fmla="*/ 414106 w 3128741"/>
              <a:gd name="connsiteY6" fmla="*/ 2064437 h 2604367"/>
              <a:gd name="connsiteX7" fmla="*/ 449 w 3128741"/>
              <a:gd name="connsiteY7" fmla="*/ 1113026 h 2604367"/>
              <a:gd name="connsiteX0" fmla="*/ 449 w 3124188"/>
              <a:gd name="connsiteY0" fmla="*/ 1113026 h 2604367"/>
              <a:gd name="connsiteX1" fmla="*/ 1546833 w 3124188"/>
              <a:gd name="connsiteY1" fmla="*/ 505 h 2604367"/>
              <a:gd name="connsiteX2" fmla="*/ 3123697 w 3124188"/>
              <a:gd name="connsiteY2" fmla="*/ 1230592 h 2604367"/>
              <a:gd name="connsiteX3" fmla="*/ 1990970 w 3124188"/>
              <a:gd name="connsiteY3" fmla="*/ 2421490 h 2604367"/>
              <a:gd name="connsiteX4" fmla="*/ 875660 w 3124188"/>
              <a:gd name="connsiteY4" fmla="*/ 2356173 h 2604367"/>
              <a:gd name="connsiteX5" fmla="*/ 257353 w 3124188"/>
              <a:gd name="connsiteY5" fmla="*/ 2604367 h 2604367"/>
              <a:gd name="connsiteX6" fmla="*/ 414106 w 3124188"/>
              <a:gd name="connsiteY6" fmla="*/ 2064437 h 2604367"/>
              <a:gd name="connsiteX7" fmla="*/ 449 w 3124188"/>
              <a:gd name="connsiteY7" fmla="*/ 1113026 h 2604367"/>
              <a:gd name="connsiteX0" fmla="*/ 449 w 3119791"/>
              <a:gd name="connsiteY0" fmla="*/ 1112524 h 2603865"/>
              <a:gd name="connsiteX1" fmla="*/ 1546833 w 3119791"/>
              <a:gd name="connsiteY1" fmla="*/ 3 h 2603865"/>
              <a:gd name="connsiteX2" fmla="*/ 3119343 w 3119791"/>
              <a:gd name="connsiteY2" fmla="*/ 1121233 h 2603865"/>
              <a:gd name="connsiteX3" fmla="*/ 1990970 w 3119791"/>
              <a:gd name="connsiteY3" fmla="*/ 2420988 h 2603865"/>
              <a:gd name="connsiteX4" fmla="*/ 875660 w 3119791"/>
              <a:gd name="connsiteY4" fmla="*/ 2355671 h 2603865"/>
              <a:gd name="connsiteX5" fmla="*/ 257353 w 3119791"/>
              <a:gd name="connsiteY5" fmla="*/ 2603865 h 2603865"/>
              <a:gd name="connsiteX6" fmla="*/ 414106 w 3119791"/>
              <a:gd name="connsiteY6" fmla="*/ 2063935 h 2603865"/>
              <a:gd name="connsiteX7" fmla="*/ 449 w 3119791"/>
              <a:gd name="connsiteY7" fmla="*/ 1112524 h 2603865"/>
              <a:gd name="connsiteX0" fmla="*/ 449 w 3119817"/>
              <a:gd name="connsiteY0" fmla="*/ 1112524 h 2603865"/>
              <a:gd name="connsiteX1" fmla="*/ 1546833 w 3119817"/>
              <a:gd name="connsiteY1" fmla="*/ 3 h 2603865"/>
              <a:gd name="connsiteX2" fmla="*/ 3119343 w 3119817"/>
              <a:gd name="connsiteY2" fmla="*/ 1121233 h 2603865"/>
              <a:gd name="connsiteX3" fmla="*/ 1990970 w 3119817"/>
              <a:gd name="connsiteY3" fmla="*/ 2420988 h 2603865"/>
              <a:gd name="connsiteX4" fmla="*/ 875660 w 3119817"/>
              <a:gd name="connsiteY4" fmla="*/ 2355671 h 2603865"/>
              <a:gd name="connsiteX5" fmla="*/ 257353 w 3119817"/>
              <a:gd name="connsiteY5" fmla="*/ 2603865 h 2603865"/>
              <a:gd name="connsiteX6" fmla="*/ 414106 w 3119817"/>
              <a:gd name="connsiteY6" fmla="*/ 2063935 h 2603865"/>
              <a:gd name="connsiteX7" fmla="*/ 449 w 3119817"/>
              <a:gd name="connsiteY7" fmla="*/ 1112524 h 2603865"/>
              <a:gd name="connsiteX0" fmla="*/ 6 w 3119374"/>
              <a:gd name="connsiteY0" fmla="*/ 1112524 h 2603865"/>
              <a:gd name="connsiteX1" fmla="*/ 1546390 w 3119374"/>
              <a:gd name="connsiteY1" fmla="*/ 3 h 2603865"/>
              <a:gd name="connsiteX2" fmla="*/ 3118900 w 3119374"/>
              <a:gd name="connsiteY2" fmla="*/ 1121233 h 2603865"/>
              <a:gd name="connsiteX3" fmla="*/ 1990527 w 3119374"/>
              <a:gd name="connsiteY3" fmla="*/ 2420988 h 2603865"/>
              <a:gd name="connsiteX4" fmla="*/ 875217 w 3119374"/>
              <a:gd name="connsiteY4" fmla="*/ 2355671 h 2603865"/>
              <a:gd name="connsiteX5" fmla="*/ 256910 w 3119374"/>
              <a:gd name="connsiteY5" fmla="*/ 2603865 h 2603865"/>
              <a:gd name="connsiteX6" fmla="*/ 413663 w 3119374"/>
              <a:gd name="connsiteY6" fmla="*/ 2063935 h 2603865"/>
              <a:gd name="connsiteX7" fmla="*/ 6 w 3119374"/>
              <a:gd name="connsiteY7" fmla="*/ 1112524 h 2603865"/>
              <a:gd name="connsiteX0" fmla="*/ 6 w 3093249"/>
              <a:gd name="connsiteY0" fmla="*/ 969979 h 2605011"/>
              <a:gd name="connsiteX1" fmla="*/ 1520265 w 3093249"/>
              <a:gd name="connsiteY1" fmla="*/ 1149 h 2605011"/>
              <a:gd name="connsiteX2" fmla="*/ 3092775 w 3093249"/>
              <a:gd name="connsiteY2" fmla="*/ 1122379 h 2605011"/>
              <a:gd name="connsiteX3" fmla="*/ 1964402 w 3093249"/>
              <a:gd name="connsiteY3" fmla="*/ 2422134 h 2605011"/>
              <a:gd name="connsiteX4" fmla="*/ 849092 w 3093249"/>
              <a:gd name="connsiteY4" fmla="*/ 2356817 h 2605011"/>
              <a:gd name="connsiteX5" fmla="*/ 230785 w 3093249"/>
              <a:gd name="connsiteY5" fmla="*/ 2605011 h 2605011"/>
              <a:gd name="connsiteX6" fmla="*/ 387538 w 3093249"/>
              <a:gd name="connsiteY6" fmla="*/ 2065081 h 2605011"/>
              <a:gd name="connsiteX7" fmla="*/ 6 w 3093249"/>
              <a:gd name="connsiteY7" fmla="*/ 969979 h 2605011"/>
              <a:gd name="connsiteX0" fmla="*/ 15854 w 3109097"/>
              <a:gd name="connsiteY0" fmla="*/ 970040 h 2605072"/>
              <a:gd name="connsiteX1" fmla="*/ 1536113 w 3109097"/>
              <a:gd name="connsiteY1" fmla="*/ 1210 h 2605072"/>
              <a:gd name="connsiteX2" fmla="*/ 3108623 w 3109097"/>
              <a:gd name="connsiteY2" fmla="*/ 1122440 h 2605072"/>
              <a:gd name="connsiteX3" fmla="*/ 1980250 w 3109097"/>
              <a:gd name="connsiteY3" fmla="*/ 2422195 h 2605072"/>
              <a:gd name="connsiteX4" fmla="*/ 864940 w 3109097"/>
              <a:gd name="connsiteY4" fmla="*/ 2356878 h 2605072"/>
              <a:gd name="connsiteX5" fmla="*/ 246633 w 3109097"/>
              <a:gd name="connsiteY5" fmla="*/ 2605072 h 2605072"/>
              <a:gd name="connsiteX6" fmla="*/ 403386 w 3109097"/>
              <a:gd name="connsiteY6" fmla="*/ 2065142 h 2605072"/>
              <a:gd name="connsiteX7" fmla="*/ 15854 w 3109097"/>
              <a:gd name="connsiteY7" fmla="*/ 970040 h 2605072"/>
              <a:gd name="connsiteX0" fmla="*/ 15854 w 3109097"/>
              <a:gd name="connsiteY0" fmla="*/ 969376 h 2604408"/>
              <a:gd name="connsiteX1" fmla="*/ 1536113 w 3109097"/>
              <a:gd name="connsiteY1" fmla="*/ 546 h 2604408"/>
              <a:gd name="connsiteX2" fmla="*/ 3108623 w 3109097"/>
              <a:gd name="connsiteY2" fmla="*/ 1121776 h 2604408"/>
              <a:gd name="connsiteX3" fmla="*/ 1980250 w 3109097"/>
              <a:gd name="connsiteY3" fmla="*/ 2421531 h 2604408"/>
              <a:gd name="connsiteX4" fmla="*/ 864940 w 3109097"/>
              <a:gd name="connsiteY4" fmla="*/ 2356214 h 2604408"/>
              <a:gd name="connsiteX5" fmla="*/ 246633 w 3109097"/>
              <a:gd name="connsiteY5" fmla="*/ 2604408 h 2604408"/>
              <a:gd name="connsiteX6" fmla="*/ 403386 w 3109097"/>
              <a:gd name="connsiteY6" fmla="*/ 2064478 h 2604408"/>
              <a:gd name="connsiteX7" fmla="*/ 15854 w 3109097"/>
              <a:gd name="connsiteY7" fmla="*/ 969376 h 2604408"/>
              <a:gd name="connsiteX0" fmla="*/ 57359 w 3154927"/>
              <a:gd name="connsiteY0" fmla="*/ 969150 h 2604182"/>
              <a:gd name="connsiteX1" fmla="*/ 1581972 w 3154927"/>
              <a:gd name="connsiteY1" fmla="*/ 320 h 2604182"/>
              <a:gd name="connsiteX2" fmla="*/ 3150128 w 3154927"/>
              <a:gd name="connsiteY2" fmla="*/ 1121550 h 2604182"/>
              <a:gd name="connsiteX3" fmla="*/ 2021755 w 3154927"/>
              <a:gd name="connsiteY3" fmla="*/ 2421305 h 2604182"/>
              <a:gd name="connsiteX4" fmla="*/ 906445 w 3154927"/>
              <a:gd name="connsiteY4" fmla="*/ 2355988 h 2604182"/>
              <a:gd name="connsiteX5" fmla="*/ 288138 w 3154927"/>
              <a:gd name="connsiteY5" fmla="*/ 2604182 h 2604182"/>
              <a:gd name="connsiteX6" fmla="*/ 444891 w 3154927"/>
              <a:gd name="connsiteY6" fmla="*/ 2064252 h 2604182"/>
              <a:gd name="connsiteX7" fmla="*/ 57359 w 3154927"/>
              <a:gd name="connsiteY7" fmla="*/ 969150 h 2604182"/>
              <a:gd name="connsiteX0" fmla="*/ 43848 w 3141416"/>
              <a:gd name="connsiteY0" fmla="*/ 969231 h 2604263"/>
              <a:gd name="connsiteX1" fmla="*/ 1568461 w 3141416"/>
              <a:gd name="connsiteY1" fmla="*/ 401 h 2604263"/>
              <a:gd name="connsiteX2" fmla="*/ 3136617 w 3141416"/>
              <a:gd name="connsiteY2" fmla="*/ 1121631 h 2604263"/>
              <a:gd name="connsiteX3" fmla="*/ 2008244 w 3141416"/>
              <a:gd name="connsiteY3" fmla="*/ 2421386 h 2604263"/>
              <a:gd name="connsiteX4" fmla="*/ 892934 w 3141416"/>
              <a:gd name="connsiteY4" fmla="*/ 2356069 h 2604263"/>
              <a:gd name="connsiteX5" fmla="*/ 274627 w 3141416"/>
              <a:gd name="connsiteY5" fmla="*/ 2604263 h 2604263"/>
              <a:gd name="connsiteX6" fmla="*/ 431380 w 3141416"/>
              <a:gd name="connsiteY6" fmla="*/ 2064333 h 2604263"/>
              <a:gd name="connsiteX7" fmla="*/ 43848 w 3141416"/>
              <a:gd name="connsiteY7" fmla="*/ 969231 h 2604263"/>
              <a:gd name="connsiteX0" fmla="*/ 37294 w 3134862"/>
              <a:gd name="connsiteY0" fmla="*/ 969279 h 2604311"/>
              <a:gd name="connsiteX1" fmla="*/ 1561907 w 3134862"/>
              <a:gd name="connsiteY1" fmla="*/ 449 h 2604311"/>
              <a:gd name="connsiteX2" fmla="*/ 3130063 w 3134862"/>
              <a:gd name="connsiteY2" fmla="*/ 1121679 h 2604311"/>
              <a:gd name="connsiteX3" fmla="*/ 2001690 w 3134862"/>
              <a:gd name="connsiteY3" fmla="*/ 2421434 h 2604311"/>
              <a:gd name="connsiteX4" fmla="*/ 886380 w 3134862"/>
              <a:gd name="connsiteY4" fmla="*/ 2356117 h 2604311"/>
              <a:gd name="connsiteX5" fmla="*/ 268073 w 3134862"/>
              <a:gd name="connsiteY5" fmla="*/ 2604311 h 2604311"/>
              <a:gd name="connsiteX6" fmla="*/ 424826 w 3134862"/>
              <a:gd name="connsiteY6" fmla="*/ 2064381 h 2604311"/>
              <a:gd name="connsiteX7" fmla="*/ 37294 w 3134862"/>
              <a:gd name="connsiteY7" fmla="*/ 969279 h 2604311"/>
              <a:gd name="connsiteX0" fmla="*/ 37294 w 3130438"/>
              <a:gd name="connsiteY0" fmla="*/ 969279 h 2604311"/>
              <a:gd name="connsiteX1" fmla="*/ 1561907 w 3130438"/>
              <a:gd name="connsiteY1" fmla="*/ 449 h 2604311"/>
              <a:gd name="connsiteX2" fmla="*/ 3130063 w 3130438"/>
              <a:gd name="connsiteY2" fmla="*/ 1121679 h 2604311"/>
              <a:gd name="connsiteX3" fmla="*/ 2001690 w 3130438"/>
              <a:gd name="connsiteY3" fmla="*/ 2421434 h 2604311"/>
              <a:gd name="connsiteX4" fmla="*/ 886380 w 3130438"/>
              <a:gd name="connsiteY4" fmla="*/ 2356117 h 2604311"/>
              <a:gd name="connsiteX5" fmla="*/ 268073 w 3130438"/>
              <a:gd name="connsiteY5" fmla="*/ 2604311 h 2604311"/>
              <a:gd name="connsiteX6" fmla="*/ 424826 w 3130438"/>
              <a:gd name="connsiteY6" fmla="*/ 2064381 h 2604311"/>
              <a:gd name="connsiteX7" fmla="*/ 37294 w 3130438"/>
              <a:gd name="connsiteY7" fmla="*/ 969279 h 2604311"/>
              <a:gd name="connsiteX0" fmla="*/ 37294 w 3130454"/>
              <a:gd name="connsiteY0" fmla="*/ 968831 h 2603863"/>
              <a:gd name="connsiteX1" fmla="*/ 1561907 w 3130454"/>
              <a:gd name="connsiteY1" fmla="*/ 1 h 2603863"/>
              <a:gd name="connsiteX2" fmla="*/ 3130063 w 3130454"/>
              <a:gd name="connsiteY2" fmla="*/ 1121231 h 2603863"/>
              <a:gd name="connsiteX3" fmla="*/ 2001690 w 3130454"/>
              <a:gd name="connsiteY3" fmla="*/ 2420986 h 2603863"/>
              <a:gd name="connsiteX4" fmla="*/ 886380 w 3130454"/>
              <a:gd name="connsiteY4" fmla="*/ 2355669 h 2603863"/>
              <a:gd name="connsiteX5" fmla="*/ 268073 w 3130454"/>
              <a:gd name="connsiteY5" fmla="*/ 2603863 h 2603863"/>
              <a:gd name="connsiteX6" fmla="*/ 424826 w 3130454"/>
              <a:gd name="connsiteY6" fmla="*/ 2063933 h 2603863"/>
              <a:gd name="connsiteX7" fmla="*/ 37294 w 3130454"/>
              <a:gd name="connsiteY7" fmla="*/ 968831 h 2603863"/>
              <a:gd name="connsiteX0" fmla="*/ 37294 w 3139116"/>
              <a:gd name="connsiteY0" fmla="*/ 970729 h 2605761"/>
              <a:gd name="connsiteX1" fmla="*/ 1561907 w 3139116"/>
              <a:gd name="connsiteY1" fmla="*/ 1899 h 2605761"/>
              <a:gd name="connsiteX2" fmla="*/ 3138771 w 3139116"/>
              <a:gd name="connsiteY2" fmla="*/ 1184089 h 2605761"/>
              <a:gd name="connsiteX3" fmla="*/ 2001690 w 3139116"/>
              <a:gd name="connsiteY3" fmla="*/ 2422884 h 2605761"/>
              <a:gd name="connsiteX4" fmla="*/ 886380 w 3139116"/>
              <a:gd name="connsiteY4" fmla="*/ 2357567 h 2605761"/>
              <a:gd name="connsiteX5" fmla="*/ 268073 w 3139116"/>
              <a:gd name="connsiteY5" fmla="*/ 2605761 h 2605761"/>
              <a:gd name="connsiteX6" fmla="*/ 424826 w 3139116"/>
              <a:gd name="connsiteY6" fmla="*/ 2065831 h 2605761"/>
              <a:gd name="connsiteX7" fmla="*/ 37294 w 3139116"/>
              <a:gd name="connsiteY7" fmla="*/ 970729 h 2605761"/>
              <a:gd name="connsiteX0" fmla="*/ 37294 w 3138833"/>
              <a:gd name="connsiteY0" fmla="*/ 970729 h 2605761"/>
              <a:gd name="connsiteX1" fmla="*/ 1561907 w 3138833"/>
              <a:gd name="connsiteY1" fmla="*/ 1899 h 2605761"/>
              <a:gd name="connsiteX2" fmla="*/ 3138771 w 3138833"/>
              <a:gd name="connsiteY2" fmla="*/ 1184089 h 2605761"/>
              <a:gd name="connsiteX3" fmla="*/ 2001690 w 3138833"/>
              <a:gd name="connsiteY3" fmla="*/ 2422884 h 2605761"/>
              <a:gd name="connsiteX4" fmla="*/ 886380 w 3138833"/>
              <a:gd name="connsiteY4" fmla="*/ 2357567 h 2605761"/>
              <a:gd name="connsiteX5" fmla="*/ 268073 w 3138833"/>
              <a:gd name="connsiteY5" fmla="*/ 2605761 h 2605761"/>
              <a:gd name="connsiteX6" fmla="*/ 424826 w 3138833"/>
              <a:gd name="connsiteY6" fmla="*/ 2065831 h 2605761"/>
              <a:gd name="connsiteX7" fmla="*/ 37294 w 3138833"/>
              <a:gd name="connsiteY7" fmla="*/ 970729 h 2605761"/>
              <a:gd name="connsiteX0" fmla="*/ 37294 w 3138833"/>
              <a:gd name="connsiteY0" fmla="*/ 970729 h 2605761"/>
              <a:gd name="connsiteX1" fmla="*/ 1561907 w 3138833"/>
              <a:gd name="connsiteY1" fmla="*/ 1899 h 2605761"/>
              <a:gd name="connsiteX2" fmla="*/ 3138771 w 3138833"/>
              <a:gd name="connsiteY2" fmla="*/ 1184089 h 2605761"/>
              <a:gd name="connsiteX3" fmla="*/ 2001690 w 3138833"/>
              <a:gd name="connsiteY3" fmla="*/ 2422884 h 2605761"/>
              <a:gd name="connsiteX4" fmla="*/ 886380 w 3138833"/>
              <a:gd name="connsiteY4" fmla="*/ 2357567 h 2605761"/>
              <a:gd name="connsiteX5" fmla="*/ 268073 w 3138833"/>
              <a:gd name="connsiteY5" fmla="*/ 2605761 h 2605761"/>
              <a:gd name="connsiteX6" fmla="*/ 424826 w 3138833"/>
              <a:gd name="connsiteY6" fmla="*/ 2065831 h 2605761"/>
              <a:gd name="connsiteX7" fmla="*/ 37294 w 3138833"/>
              <a:gd name="connsiteY7" fmla="*/ 970729 h 2605761"/>
              <a:gd name="connsiteX0" fmla="*/ 57360 w 3163524"/>
              <a:gd name="connsiteY0" fmla="*/ 957170 h 2592202"/>
              <a:gd name="connsiteX1" fmla="*/ 1581973 w 3163524"/>
              <a:gd name="connsiteY1" fmla="*/ 1403 h 2592202"/>
              <a:gd name="connsiteX2" fmla="*/ 3158837 w 3163524"/>
              <a:gd name="connsiteY2" fmla="*/ 1170530 h 2592202"/>
              <a:gd name="connsiteX3" fmla="*/ 2021756 w 3163524"/>
              <a:gd name="connsiteY3" fmla="*/ 2409325 h 2592202"/>
              <a:gd name="connsiteX4" fmla="*/ 906446 w 3163524"/>
              <a:gd name="connsiteY4" fmla="*/ 2344008 h 2592202"/>
              <a:gd name="connsiteX5" fmla="*/ 288139 w 3163524"/>
              <a:gd name="connsiteY5" fmla="*/ 2592202 h 2592202"/>
              <a:gd name="connsiteX6" fmla="*/ 444892 w 3163524"/>
              <a:gd name="connsiteY6" fmla="*/ 2052272 h 2592202"/>
              <a:gd name="connsiteX7" fmla="*/ 57360 w 3163524"/>
              <a:gd name="connsiteY7" fmla="*/ 957170 h 2592202"/>
              <a:gd name="connsiteX0" fmla="*/ 57360 w 3163524"/>
              <a:gd name="connsiteY0" fmla="*/ 955912 h 2590944"/>
              <a:gd name="connsiteX1" fmla="*/ 1581973 w 3163524"/>
              <a:gd name="connsiteY1" fmla="*/ 145 h 2590944"/>
              <a:gd name="connsiteX2" fmla="*/ 3158837 w 3163524"/>
              <a:gd name="connsiteY2" fmla="*/ 1169272 h 2590944"/>
              <a:gd name="connsiteX3" fmla="*/ 2021756 w 3163524"/>
              <a:gd name="connsiteY3" fmla="*/ 2408067 h 2590944"/>
              <a:gd name="connsiteX4" fmla="*/ 906446 w 3163524"/>
              <a:gd name="connsiteY4" fmla="*/ 2342750 h 2590944"/>
              <a:gd name="connsiteX5" fmla="*/ 288139 w 3163524"/>
              <a:gd name="connsiteY5" fmla="*/ 2590944 h 2590944"/>
              <a:gd name="connsiteX6" fmla="*/ 444892 w 3163524"/>
              <a:gd name="connsiteY6" fmla="*/ 2051014 h 2590944"/>
              <a:gd name="connsiteX7" fmla="*/ 57360 w 3163524"/>
              <a:gd name="connsiteY7" fmla="*/ 955912 h 2590944"/>
              <a:gd name="connsiteX0" fmla="*/ 57360 w 3189384"/>
              <a:gd name="connsiteY0" fmla="*/ 957115 h 2592147"/>
              <a:gd name="connsiteX1" fmla="*/ 1581973 w 3189384"/>
              <a:gd name="connsiteY1" fmla="*/ 1348 h 2592147"/>
              <a:gd name="connsiteX2" fmla="*/ 3184962 w 3189384"/>
              <a:gd name="connsiteY2" fmla="*/ 1166121 h 2592147"/>
              <a:gd name="connsiteX3" fmla="*/ 2021756 w 3189384"/>
              <a:gd name="connsiteY3" fmla="*/ 2409270 h 2592147"/>
              <a:gd name="connsiteX4" fmla="*/ 906446 w 3189384"/>
              <a:gd name="connsiteY4" fmla="*/ 2343953 h 2592147"/>
              <a:gd name="connsiteX5" fmla="*/ 288139 w 3189384"/>
              <a:gd name="connsiteY5" fmla="*/ 2592147 h 2592147"/>
              <a:gd name="connsiteX6" fmla="*/ 444892 w 3189384"/>
              <a:gd name="connsiteY6" fmla="*/ 2052217 h 2592147"/>
              <a:gd name="connsiteX7" fmla="*/ 57360 w 3189384"/>
              <a:gd name="connsiteY7" fmla="*/ 957115 h 2592147"/>
              <a:gd name="connsiteX0" fmla="*/ 57360 w 3185090"/>
              <a:gd name="connsiteY0" fmla="*/ 957115 h 2592147"/>
              <a:gd name="connsiteX1" fmla="*/ 1581973 w 3185090"/>
              <a:gd name="connsiteY1" fmla="*/ 1348 h 2592147"/>
              <a:gd name="connsiteX2" fmla="*/ 3184962 w 3185090"/>
              <a:gd name="connsiteY2" fmla="*/ 1166121 h 2592147"/>
              <a:gd name="connsiteX3" fmla="*/ 2021756 w 3185090"/>
              <a:gd name="connsiteY3" fmla="*/ 2409270 h 2592147"/>
              <a:gd name="connsiteX4" fmla="*/ 906446 w 3185090"/>
              <a:gd name="connsiteY4" fmla="*/ 2343953 h 2592147"/>
              <a:gd name="connsiteX5" fmla="*/ 288139 w 3185090"/>
              <a:gd name="connsiteY5" fmla="*/ 2592147 h 2592147"/>
              <a:gd name="connsiteX6" fmla="*/ 444892 w 3185090"/>
              <a:gd name="connsiteY6" fmla="*/ 2052217 h 2592147"/>
              <a:gd name="connsiteX7" fmla="*/ 57360 w 3185090"/>
              <a:gd name="connsiteY7" fmla="*/ 957115 h 2592147"/>
              <a:gd name="connsiteX0" fmla="*/ 57360 w 3185123"/>
              <a:gd name="connsiteY0" fmla="*/ 955858 h 2590890"/>
              <a:gd name="connsiteX1" fmla="*/ 1581973 w 3185123"/>
              <a:gd name="connsiteY1" fmla="*/ 91 h 2590890"/>
              <a:gd name="connsiteX2" fmla="*/ 3184962 w 3185123"/>
              <a:gd name="connsiteY2" fmla="*/ 1164864 h 2590890"/>
              <a:gd name="connsiteX3" fmla="*/ 2021756 w 3185123"/>
              <a:gd name="connsiteY3" fmla="*/ 2408013 h 2590890"/>
              <a:gd name="connsiteX4" fmla="*/ 906446 w 3185123"/>
              <a:gd name="connsiteY4" fmla="*/ 2342696 h 2590890"/>
              <a:gd name="connsiteX5" fmla="*/ 288139 w 3185123"/>
              <a:gd name="connsiteY5" fmla="*/ 2590890 h 2590890"/>
              <a:gd name="connsiteX6" fmla="*/ 444892 w 3185123"/>
              <a:gd name="connsiteY6" fmla="*/ 2050960 h 2590890"/>
              <a:gd name="connsiteX7" fmla="*/ 57360 w 3185123"/>
              <a:gd name="connsiteY7" fmla="*/ 955858 h 2590890"/>
              <a:gd name="connsiteX0" fmla="*/ 64012 w 3139490"/>
              <a:gd name="connsiteY0" fmla="*/ 935677 h 2592480"/>
              <a:gd name="connsiteX1" fmla="*/ 1536374 w 3139490"/>
              <a:gd name="connsiteY1" fmla="*/ 1681 h 2592480"/>
              <a:gd name="connsiteX2" fmla="*/ 3139363 w 3139490"/>
              <a:gd name="connsiteY2" fmla="*/ 1166454 h 2592480"/>
              <a:gd name="connsiteX3" fmla="*/ 1976157 w 3139490"/>
              <a:gd name="connsiteY3" fmla="*/ 2409603 h 2592480"/>
              <a:gd name="connsiteX4" fmla="*/ 860847 w 3139490"/>
              <a:gd name="connsiteY4" fmla="*/ 2344286 h 2592480"/>
              <a:gd name="connsiteX5" fmla="*/ 242540 w 3139490"/>
              <a:gd name="connsiteY5" fmla="*/ 2592480 h 2592480"/>
              <a:gd name="connsiteX6" fmla="*/ 399293 w 3139490"/>
              <a:gd name="connsiteY6" fmla="*/ 2052550 h 2592480"/>
              <a:gd name="connsiteX7" fmla="*/ 64012 w 3139490"/>
              <a:gd name="connsiteY7" fmla="*/ 935677 h 2592480"/>
              <a:gd name="connsiteX0" fmla="*/ 30881 w 3106359"/>
              <a:gd name="connsiteY0" fmla="*/ 936169 h 2592972"/>
              <a:gd name="connsiteX1" fmla="*/ 1503243 w 3106359"/>
              <a:gd name="connsiteY1" fmla="*/ 2173 h 2592972"/>
              <a:gd name="connsiteX2" fmla="*/ 3106232 w 3106359"/>
              <a:gd name="connsiteY2" fmla="*/ 1166946 h 2592972"/>
              <a:gd name="connsiteX3" fmla="*/ 1943026 w 3106359"/>
              <a:gd name="connsiteY3" fmla="*/ 2410095 h 2592972"/>
              <a:gd name="connsiteX4" fmla="*/ 827716 w 3106359"/>
              <a:gd name="connsiteY4" fmla="*/ 2344778 h 2592972"/>
              <a:gd name="connsiteX5" fmla="*/ 209409 w 3106359"/>
              <a:gd name="connsiteY5" fmla="*/ 2592972 h 2592972"/>
              <a:gd name="connsiteX6" fmla="*/ 366162 w 3106359"/>
              <a:gd name="connsiteY6" fmla="*/ 2053042 h 2592972"/>
              <a:gd name="connsiteX7" fmla="*/ 30881 w 3106359"/>
              <a:gd name="connsiteY7" fmla="*/ 936169 h 2592972"/>
              <a:gd name="connsiteX0" fmla="*/ 62211 w 3137689"/>
              <a:gd name="connsiteY0" fmla="*/ 935673 h 2592476"/>
              <a:gd name="connsiteX1" fmla="*/ 1534573 w 3137689"/>
              <a:gd name="connsiteY1" fmla="*/ 1677 h 2592476"/>
              <a:gd name="connsiteX2" fmla="*/ 3137562 w 3137689"/>
              <a:gd name="connsiteY2" fmla="*/ 1166450 h 2592476"/>
              <a:gd name="connsiteX3" fmla="*/ 1974356 w 3137689"/>
              <a:gd name="connsiteY3" fmla="*/ 2409599 h 2592476"/>
              <a:gd name="connsiteX4" fmla="*/ 859046 w 3137689"/>
              <a:gd name="connsiteY4" fmla="*/ 2344282 h 2592476"/>
              <a:gd name="connsiteX5" fmla="*/ 240739 w 3137689"/>
              <a:gd name="connsiteY5" fmla="*/ 2592476 h 2592476"/>
              <a:gd name="connsiteX6" fmla="*/ 406200 w 3137689"/>
              <a:gd name="connsiteY6" fmla="*/ 2039484 h 2592476"/>
              <a:gd name="connsiteX7" fmla="*/ 62211 w 3137689"/>
              <a:gd name="connsiteY7" fmla="*/ 935673 h 2592476"/>
              <a:gd name="connsiteX0" fmla="*/ 62211 w 3137689"/>
              <a:gd name="connsiteY0" fmla="*/ 935673 h 2592476"/>
              <a:gd name="connsiteX1" fmla="*/ 1534573 w 3137689"/>
              <a:gd name="connsiteY1" fmla="*/ 1677 h 2592476"/>
              <a:gd name="connsiteX2" fmla="*/ 3137562 w 3137689"/>
              <a:gd name="connsiteY2" fmla="*/ 1166450 h 2592476"/>
              <a:gd name="connsiteX3" fmla="*/ 1974356 w 3137689"/>
              <a:gd name="connsiteY3" fmla="*/ 2409599 h 2592476"/>
              <a:gd name="connsiteX4" fmla="*/ 859046 w 3137689"/>
              <a:gd name="connsiteY4" fmla="*/ 2344282 h 2592476"/>
              <a:gd name="connsiteX5" fmla="*/ 240739 w 3137689"/>
              <a:gd name="connsiteY5" fmla="*/ 2592476 h 2592476"/>
              <a:gd name="connsiteX6" fmla="*/ 406200 w 3137689"/>
              <a:gd name="connsiteY6" fmla="*/ 2039484 h 2592476"/>
              <a:gd name="connsiteX7" fmla="*/ 62211 w 3137689"/>
              <a:gd name="connsiteY7" fmla="*/ 935673 h 2592476"/>
              <a:gd name="connsiteX0" fmla="*/ 62211 w 3137692"/>
              <a:gd name="connsiteY0" fmla="*/ 934093 h 2590896"/>
              <a:gd name="connsiteX1" fmla="*/ 1534573 w 3137692"/>
              <a:gd name="connsiteY1" fmla="*/ 97 h 2590896"/>
              <a:gd name="connsiteX2" fmla="*/ 3137562 w 3137692"/>
              <a:gd name="connsiteY2" fmla="*/ 1164870 h 2590896"/>
              <a:gd name="connsiteX3" fmla="*/ 1974356 w 3137692"/>
              <a:gd name="connsiteY3" fmla="*/ 2408019 h 2590896"/>
              <a:gd name="connsiteX4" fmla="*/ 859046 w 3137692"/>
              <a:gd name="connsiteY4" fmla="*/ 2342702 h 2590896"/>
              <a:gd name="connsiteX5" fmla="*/ 240739 w 3137692"/>
              <a:gd name="connsiteY5" fmla="*/ 2590896 h 2590896"/>
              <a:gd name="connsiteX6" fmla="*/ 406200 w 3137692"/>
              <a:gd name="connsiteY6" fmla="*/ 2037904 h 2590896"/>
              <a:gd name="connsiteX7" fmla="*/ 62211 w 3137692"/>
              <a:gd name="connsiteY7" fmla="*/ 934093 h 2590896"/>
              <a:gd name="connsiteX0" fmla="*/ 62211 w 3137692"/>
              <a:gd name="connsiteY0" fmla="*/ 934093 h 2590896"/>
              <a:gd name="connsiteX1" fmla="*/ 1534573 w 3137692"/>
              <a:gd name="connsiteY1" fmla="*/ 97 h 2590896"/>
              <a:gd name="connsiteX2" fmla="*/ 3137562 w 3137692"/>
              <a:gd name="connsiteY2" fmla="*/ 1164870 h 2590896"/>
              <a:gd name="connsiteX3" fmla="*/ 1974356 w 3137692"/>
              <a:gd name="connsiteY3" fmla="*/ 2408019 h 2590896"/>
              <a:gd name="connsiteX4" fmla="*/ 859046 w 3137692"/>
              <a:gd name="connsiteY4" fmla="*/ 2342702 h 2590896"/>
              <a:gd name="connsiteX5" fmla="*/ 240739 w 3137692"/>
              <a:gd name="connsiteY5" fmla="*/ 2590896 h 2590896"/>
              <a:gd name="connsiteX6" fmla="*/ 406200 w 3137692"/>
              <a:gd name="connsiteY6" fmla="*/ 2037904 h 2590896"/>
              <a:gd name="connsiteX7" fmla="*/ 62211 w 3137692"/>
              <a:gd name="connsiteY7" fmla="*/ 934093 h 2590896"/>
              <a:gd name="connsiteX0" fmla="*/ 0 w 3075481"/>
              <a:gd name="connsiteY0" fmla="*/ 934093 h 2590896"/>
              <a:gd name="connsiteX1" fmla="*/ 1472362 w 3075481"/>
              <a:gd name="connsiteY1" fmla="*/ 97 h 2590896"/>
              <a:gd name="connsiteX2" fmla="*/ 3075351 w 3075481"/>
              <a:gd name="connsiteY2" fmla="*/ 1164870 h 2590896"/>
              <a:gd name="connsiteX3" fmla="*/ 1912145 w 3075481"/>
              <a:gd name="connsiteY3" fmla="*/ 2408019 h 2590896"/>
              <a:gd name="connsiteX4" fmla="*/ 796835 w 3075481"/>
              <a:gd name="connsiteY4" fmla="*/ 2342702 h 2590896"/>
              <a:gd name="connsiteX5" fmla="*/ 178528 w 3075481"/>
              <a:gd name="connsiteY5" fmla="*/ 2590896 h 2590896"/>
              <a:gd name="connsiteX6" fmla="*/ 343989 w 3075481"/>
              <a:gd name="connsiteY6" fmla="*/ 2037904 h 2590896"/>
              <a:gd name="connsiteX7" fmla="*/ 0 w 3075481"/>
              <a:gd name="connsiteY7" fmla="*/ 934093 h 2590896"/>
              <a:gd name="connsiteX0" fmla="*/ 0 w 3075481"/>
              <a:gd name="connsiteY0" fmla="*/ 934093 h 2590896"/>
              <a:gd name="connsiteX1" fmla="*/ 1472362 w 3075481"/>
              <a:gd name="connsiteY1" fmla="*/ 97 h 2590896"/>
              <a:gd name="connsiteX2" fmla="*/ 3075351 w 3075481"/>
              <a:gd name="connsiteY2" fmla="*/ 1164870 h 2590896"/>
              <a:gd name="connsiteX3" fmla="*/ 1912145 w 3075481"/>
              <a:gd name="connsiteY3" fmla="*/ 2408019 h 2590896"/>
              <a:gd name="connsiteX4" fmla="*/ 796835 w 3075481"/>
              <a:gd name="connsiteY4" fmla="*/ 2342702 h 2590896"/>
              <a:gd name="connsiteX5" fmla="*/ 178528 w 3075481"/>
              <a:gd name="connsiteY5" fmla="*/ 2590896 h 2590896"/>
              <a:gd name="connsiteX6" fmla="*/ 343989 w 3075481"/>
              <a:gd name="connsiteY6" fmla="*/ 2037904 h 2590896"/>
              <a:gd name="connsiteX7" fmla="*/ 0 w 3075481"/>
              <a:gd name="connsiteY7" fmla="*/ 934093 h 2590896"/>
              <a:gd name="connsiteX0" fmla="*/ 35700 w 3111181"/>
              <a:gd name="connsiteY0" fmla="*/ 934093 h 2590896"/>
              <a:gd name="connsiteX1" fmla="*/ 1508062 w 3111181"/>
              <a:gd name="connsiteY1" fmla="*/ 97 h 2590896"/>
              <a:gd name="connsiteX2" fmla="*/ 3111051 w 3111181"/>
              <a:gd name="connsiteY2" fmla="*/ 1164870 h 2590896"/>
              <a:gd name="connsiteX3" fmla="*/ 1947845 w 3111181"/>
              <a:gd name="connsiteY3" fmla="*/ 2408019 h 2590896"/>
              <a:gd name="connsiteX4" fmla="*/ 832535 w 3111181"/>
              <a:gd name="connsiteY4" fmla="*/ 2342702 h 2590896"/>
              <a:gd name="connsiteX5" fmla="*/ 214228 w 3111181"/>
              <a:gd name="connsiteY5" fmla="*/ 2590896 h 2590896"/>
              <a:gd name="connsiteX6" fmla="*/ 379689 w 3111181"/>
              <a:gd name="connsiteY6" fmla="*/ 2037904 h 2590896"/>
              <a:gd name="connsiteX7" fmla="*/ 35700 w 3111181"/>
              <a:gd name="connsiteY7" fmla="*/ 934093 h 2590896"/>
              <a:gd name="connsiteX0" fmla="*/ 34402 w 3109883"/>
              <a:gd name="connsiteY0" fmla="*/ 934093 h 2590896"/>
              <a:gd name="connsiteX1" fmla="*/ 1506764 w 3109883"/>
              <a:gd name="connsiteY1" fmla="*/ 97 h 2590896"/>
              <a:gd name="connsiteX2" fmla="*/ 3109753 w 3109883"/>
              <a:gd name="connsiteY2" fmla="*/ 1164870 h 2590896"/>
              <a:gd name="connsiteX3" fmla="*/ 1946547 w 3109883"/>
              <a:gd name="connsiteY3" fmla="*/ 2408019 h 2590896"/>
              <a:gd name="connsiteX4" fmla="*/ 831237 w 3109883"/>
              <a:gd name="connsiteY4" fmla="*/ 2342702 h 2590896"/>
              <a:gd name="connsiteX5" fmla="*/ 212930 w 3109883"/>
              <a:gd name="connsiteY5" fmla="*/ 2590896 h 2590896"/>
              <a:gd name="connsiteX6" fmla="*/ 391091 w 3109883"/>
              <a:gd name="connsiteY6" fmla="*/ 2044254 h 2590896"/>
              <a:gd name="connsiteX7" fmla="*/ 34402 w 3109883"/>
              <a:gd name="connsiteY7" fmla="*/ 934093 h 2590896"/>
              <a:gd name="connsiteX0" fmla="*/ 35596 w 3111077"/>
              <a:gd name="connsiteY0" fmla="*/ 934093 h 2590896"/>
              <a:gd name="connsiteX1" fmla="*/ 1507958 w 3111077"/>
              <a:gd name="connsiteY1" fmla="*/ 97 h 2590896"/>
              <a:gd name="connsiteX2" fmla="*/ 3110947 w 3111077"/>
              <a:gd name="connsiteY2" fmla="*/ 1164870 h 2590896"/>
              <a:gd name="connsiteX3" fmla="*/ 1947741 w 3111077"/>
              <a:gd name="connsiteY3" fmla="*/ 2408019 h 2590896"/>
              <a:gd name="connsiteX4" fmla="*/ 832431 w 3111077"/>
              <a:gd name="connsiteY4" fmla="*/ 2342702 h 2590896"/>
              <a:gd name="connsiteX5" fmla="*/ 214124 w 3111077"/>
              <a:gd name="connsiteY5" fmla="*/ 2590896 h 2590896"/>
              <a:gd name="connsiteX6" fmla="*/ 392285 w 3111077"/>
              <a:gd name="connsiteY6" fmla="*/ 2044254 h 2590896"/>
              <a:gd name="connsiteX7" fmla="*/ 35596 w 3111077"/>
              <a:gd name="connsiteY7" fmla="*/ 934093 h 2590896"/>
              <a:gd name="connsiteX0" fmla="*/ 35596 w 3115399"/>
              <a:gd name="connsiteY0" fmla="*/ 938814 h 2595617"/>
              <a:gd name="connsiteX1" fmla="*/ 1506371 w 3115399"/>
              <a:gd name="connsiteY1" fmla="*/ 55 h 2595617"/>
              <a:gd name="connsiteX2" fmla="*/ 3110947 w 3115399"/>
              <a:gd name="connsiteY2" fmla="*/ 1169591 h 2595617"/>
              <a:gd name="connsiteX3" fmla="*/ 1947741 w 3115399"/>
              <a:gd name="connsiteY3" fmla="*/ 2412740 h 2595617"/>
              <a:gd name="connsiteX4" fmla="*/ 832431 w 3115399"/>
              <a:gd name="connsiteY4" fmla="*/ 2347423 h 2595617"/>
              <a:gd name="connsiteX5" fmla="*/ 214124 w 3115399"/>
              <a:gd name="connsiteY5" fmla="*/ 2595617 h 2595617"/>
              <a:gd name="connsiteX6" fmla="*/ 392285 w 3115399"/>
              <a:gd name="connsiteY6" fmla="*/ 2048975 h 2595617"/>
              <a:gd name="connsiteX7" fmla="*/ 35596 w 3115399"/>
              <a:gd name="connsiteY7" fmla="*/ 938814 h 2595617"/>
              <a:gd name="connsiteX0" fmla="*/ 35596 w 3115399"/>
              <a:gd name="connsiteY0" fmla="*/ 938814 h 2595617"/>
              <a:gd name="connsiteX1" fmla="*/ 1506371 w 3115399"/>
              <a:gd name="connsiteY1" fmla="*/ 55 h 2595617"/>
              <a:gd name="connsiteX2" fmla="*/ 3110947 w 3115399"/>
              <a:gd name="connsiteY2" fmla="*/ 1169591 h 2595617"/>
              <a:gd name="connsiteX3" fmla="*/ 1947741 w 3115399"/>
              <a:gd name="connsiteY3" fmla="*/ 2412740 h 2595617"/>
              <a:gd name="connsiteX4" fmla="*/ 832431 w 3115399"/>
              <a:gd name="connsiteY4" fmla="*/ 2347423 h 2595617"/>
              <a:gd name="connsiteX5" fmla="*/ 214124 w 3115399"/>
              <a:gd name="connsiteY5" fmla="*/ 2595617 h 2595617"/>
              <a:gd name="connsiteX6" fmla="*/ 392285 w 3115399"/>
              <a:gd name="connsiteY6" fmla="*/ 2048975 h 2595617"/>
              <a:gd name="connsiteX7" fmla="*/ 35596 w 3115399"/>
              <a:gd name="connsiteY7" fmla="*/ 938814 h 2595617"/>
              <a:gd name="connsiteX0" fmla="*/ 35596 w 3115399"/>
              <a:gd name="connsiteY0" fmla="*/ 938814 h 2595617"/>
              <a:gd name="connsiteX1" fmla="*/ 1506371 w 3115399"/>
              <a:gd name="connsiteY1" fmla="*/ 55 h 2595617"/>
              <a:gd name="connsiteX2" fmla="*/ 3110947 w 3115399"/>
              <a:gd name="connsiteY2" fmla="*/ 1169591 h 2595617"/>
              <a:gd name="connsiteX3" fmla="*/ 1947741 w 3115399"/>
              <a:gd name="connsiteY3" fmla="*/ 2412740 h 2595617"/>
              <a:gd name="connsiteX4" fmla="*/ 832431 w 3115399"/>
              <a:gd name="connsiteY4" fmla="*/ 2347423 h 2595617"/>
              <a:gd name="connsiteX5" fmla="*/ 214124 w 3115399"/>
              <a:gd name="connsiteY5" fmla="*/ 2595617 h 2595617"/>
              <a:gd name="connsiteX6" fmla="*/ 392285 w 3115399"/>
              <a:gd name="connsiteY6" fmla="*/ 2048975 h 2595617"/>
              <a:gd name="connsiteX7" fmla="*/ 35596 w 3115399"/>
              <a:gd name="connsiteY7" fmla="*/ 938814 h 2595617"/>
              <a:gd name="connsiteX0" fmla="*/ 35596 w 3115399"/>
              <a:gd name="connsiteY0" fmla="*/ 938890 h 2595693"/>
              <a:gd name="connsiteX1" fmla="*/ 1506371 w 3115399"/>
              <a:gd name="connsiteY1" fmla="*/ 131 h 2595693"/>
              <a:gd name="connsiteX2" fmla="*/ 3110947 w 3115399"/>
              <a:gd name="connsiteY2" fmla="*/ 1169667 h 2595693"/>
              <a:gd name="connsiteX3" fmla="*/ 1947741 w 3115399"/>
              <a:gd name="connsiteY3" fmla="*/ 2412816 h 2595693"/>
              <a:gd name="connsiteX4" fmla="*/ 832431 w 3115399"/>
              <a:gd name="connsiteY4" fmla="*/ 2347499 h 2595693"/>
              <a:gd name="connsiteX5" fmla="*/ 214124 w 3115399"/>
              <a:gd name="connsiteY5" fmla="*/ 2595693 h 2595693"/>
              <a:gd name="connsiteX6" fmla="*/ 392285 w 3115399"/>
              <a:gd name="connsiteY6" fmla="*/ 2049051 h 2595693"/>
              <a:gd name="connsiteX7" fmla="*/ 35596 w 3115399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57831 w 3110970"/>
              <a:gd name="connsiteY4" fmla="*/ 2336387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57831 w 3110970"/>
              <a:gd name="connsiteY4" fmla="*/ 2336387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609980"/>
              <a:gd name="connsiteX1" fmla="*/ 1506371 w 3110970"/>
              <a:gd name="connsiteY1" fmla="*/ 131 h 2609980"/>
              <a:gd name="connsiteX2" fmla="*/ 3110947 w 3110970"/>
              <a:gd name="connsiteY2" fmla="*/ 1169667 h 2609980"/>
              <a:gd name="connsiteX3" fmla="*/ 1947741 w 3110970"/>
              <a:gd name="connsiteY3" fmla="*/ 2412816 h 2609980"/>
              <a:gd name="connsiteX4" fmla="*/ 857831 w 3110970"/>
              <a:gd name="connsiteY4" fmla="*/ 2336387 h 2609980"/>
              <a:gd name="connsiteX5" fmla="*/ 244287 w 3110970"/>
              <a:gd name="connsiteY5" fmla="*/ 2609980 h 2609980"/>
              <a:gd name="connsiteX6" fmla="*/ 392285 w 3110970"/>
              <a:gd name="connsiteY6" fmla="*/ 2049051 h 2609980"/>
              <a:gd name="connsiteX7" fmla="*/ 35596 w 3110970"/>
              <a:gd name="connsiteY7" fmla="*/ 938890 h 2609980"/>
              <a:gd name="connsiteX0" fmla="*/ 35596 w 3110951"/>
              <a:gd name="connsiteY0" fmla="*/ 938876 h 2609966"/>
              <a:gd name="connsiteX1" fmla="*/ 1506371 w 3110951"/>
              <a:gd name="connsiteY1" fmla="*/ 117 h 2609966"/>
              <a:gd name="connsiteX2" fmla="*/ 3110947 w 3110951"/>
              <a:gd name="connsiteY2" fmla="*/ 1169653 h 2609966"/>
              <a:gd name="connsiteX3" fmla="*/ 1947741 w 3110951"/>
              <a:gd name="connsiteY3" fmla="*/ 2412802 h 2609966"/>
              <a:gd name="connsiteX4" fmla="*/ 857831 w 3110951"/>
              <a:gd name="connsiteY4" fmla="*/ 2336373 h 2609966"/>
              <a:gd name="connsiteX5" fmla="*/ 244287 w 3110951"/>
              <a:gd name="connsiteY5" fmla="*/ 2609966 h 2609966"/>
              <a:gd name="connsiteX6" fmla="*/ 392285 w 3110951"/>
              <a:gd name="connsiteY6" fmla="*/ 2049037 h 2609966"/>
              <a:gd name="connsiteX7" fmla="*/ 35596 w 3110951"/>
              <a:gd name="connsiteY7" fmla="*/ 938876 h 2609966"/>
              <a:gd name="connsiteX0" fmla="*/ 35596 w 3110951"/>
              <a:gd name="connsiteY0" fmla="*/ 938893 h 2609983"/>
              <a:gd name="connsiteX1" fmla="*/ 1506371 w 3110951"/>
              <a:gd name="connsiteY1" fmla="*/ 134 h 2609983"/>
              <a:gd name="connsiteX2" fmla="*/ 3110947 w 3110951"/>
              <a:gd name="connsiteY2" fmla="*/ 1169670 h 2609983"/>
              <a:gd name="connsiteX3" fmla="*/ 1947741 w 3110951"/>
              <a:gd name="connsiteY3" fmla="*/ 2412819 h 2609983"/>
              <a:gd name="connsiteX4" fmla="*/ 857831 w 3110951"/>
              <a:gd name="connsiteY4" fmla="*/ 2336390 h 2609983"/>
              <a:gd name="connsiteX5" fmla="*/ 244287 w 3110951"/>
              <a:gd name="connsiteY5" fmla="*/ 2609983 h 2609983"/>
              <a:gd name="connsiteX6" fmla="*/ 392285 w 3110951"/>
              <a:gd name="connsiteY6" fmla="*/ 2049054 h 2609983"/>
              <a:gd name="connsiteX7" fmla="*/ 35596 w 3110951"/>
              <a:gd name="connsiteY7" fmla="*/ 938893 h 2609983"/>
              <a:gd name="connsiteX0" fmla="*/ 35596 w 3110951"/>
              <a:gd name="connsiteY0" fmla="*/ 938886 h 2609976"/>
              <a:gd name="connsiteX1" fmla="*/ 1506371 w 3110951"/>
              <a:gd name="connsiteY1" fmla="*/ 127 h 2609976"/>
              <a:gd name="connsiteX2" fmla="*/ 3110947 w 3110951"/>
              <a:gd name="connsiteY2" fmla="*/ 1169663 h 2609976"/>
              <a:gd name="connsiteX3" fmla="*/ 1947741 w 3110951"/>
              <a:gd name="connsiteY3" fmla="*/ 2412812 h 2609976"/>
              <a:gd name="connsiteX4" fmla="*/ 857831 w 3110951"/>
              <a:gd name="connsiteY4" fmla="*/ 2336383 h 2609976"/>
              <a:gd name="connsiteX5" fmla="*/ 244287 w 3110951"/>
              <a:gd name="connsiteY5" fmla="*/ 2609976 h 2609976"/>
              <a:gd name="connsiteX6" fmla="*/ 392285 w 3110951"/>
              <a:gd name="connsiteY6" fmla="*/ 2049047 h 2609976"/>
              <a:gd name="connsiteX7" fmla="*/ 35596 w 3110951"/>
              <a:gd name="connsiteY7" fmla="*/ 938886 h 2609976"/>
              <a:gd name="connsiteX0" fmla="*/ 35596 w 3110951"/>
              <a:gd name="connsiteY0" fmla="*/ 938886 h 2609976"/>
              <a:gd name="connsiteX1" fmla="*/ 1506371 w 3110951"/>
              <a:gd name="connsiteY1" fmla="*/ 127 h 2609976"/>
              <a:gd name="connsiteX2" fmla="*/ 3110947 w 3110951"/>
              <a:gd name="connsiteY2" fmla="*/ 1169663 h 2609976"/>
              <a:gd name="connsiteX3" fmla="*/ 1947741 w 3110951"/>
              <a:gd name="connsiteY3" fmla="*/ 2412812 h 2609976"/>
              <a:gd name="connsiteX4" fmla="*/ 857831 w 3110951"/>
              <a:gd name="connsiteY4" fmla="*/ 2336383 h 2609976"/>
              <a:gd name="connsiteX5" fmla="*/ 244287 w 3110951"/>
              <a:gd name="connsiteY5" fmla="*/ 2609976 h 2609976"/>
              <a:gd name="connsiteX6" fmla="*/ 392285 w 3110951"/>
              <a:gd name="connsiteY6" fmla="*/ 2049047 h 2609976"/>
              <a:gd name="connsiteX7" fmla="*/ 35596 w 3110951"/>
              <a:gd name="connsiteY7" fmla="*/ 938886 h 2609976"/>
              <a:gd name="connsiteX0" fmla="*/ 35596 w 3110951"/>
              <a:gd name="connsiteY0" fmla="*/ 938886 h 2609976"/>
              <a:gd name="connsiteX1" fmla="*/ 1506371 w 3110951"/>
              <a:gd name="connsiteY1" fmla="*/ 127 h 2609976"/>
              <a:gd name="connsiteX2" fmla="*/ 3110947 w 3110951"/>
              <a:gd name="connsiteY2" fmla="*/ 1169663 h 2609976"/>
              <a:gd name="connsiteX3" fmla="*/ 1947741 w 3110951"/>
              <a:gd name="connsiteY3" fmla="*/ 2412812 h 2609976"/>
              <a:gd name="connsiteX4" fmla="*/ 857831 w 3110951"/>
              <a:gd name="connsiteY4" fmla="*/ 2336383 h 2609976"/>
              <a:gd name="connsiteX5" fmla="*/ 244287 w 3110951"/>
              <a:gd name="connsiteY5" fmla="*/ 2609976 h 2609976"/>
              <a:gd name="connsiteX6" fmla="*/ 392285 w 3110951"/>
              <a:gd name="connsiteY6" fmla="*/ 2049047 h 2609976"/>
              <a:gd name="connsiteX7" fmla="*/ 35596 w 3110951"/>
              <a:gd name="connsiteY7" fmla="*/ 938886 h 2609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10951" h="2609976">
                <a:moveTo>
                  <a:pt x="35596" y="938886"/>
                </a:moveTo>
                <a:cubicBezTo>
                  <a:pt x="212546" y="375415"/>
                  <a:pt x="884276" y="10877"/>
                  <a:pt x="1506371" y="127"/>
                </a:cubicBezTo>
                <a:cubicBezTo>
                  <a:pt x="2042741" y="-7448"/>
                  <a:pt x="3104060" y="324637"/>
                  <a:pt x="3110947" y="1169663"/>
                </a:cubicBezTo>
                <a:cubicBezTo>
                  <a:pt x="3113072" y="2044852"/>
                  <a:pt x="2343369" y="2319695"/>
                  <a:pt x="1947741" y="2412812"/>
                </a:cubicBezTo>
                <a:cubicBezTo>
                  <a:pt x="1567988" y="2499579"/>
                  <a:pt x="1033465" y="2400972"/>
                  <a:pt x="857831" y="2336383"/>
                </a:cubicBezTo>
                <a:lnTo>
                  <a:pt x="244287" y="2609976"/>
                </a:lnTo>
                <a:lnTo>
                  <a:pt x="392285" y="2049047"/>
                </a:lnTo>
                <a:cubicBezTo>
                  <a:pt x="121854" y="1787745"/>
                  <a:pt x="-86097" y="1503491"/>
                  <a:pt x="35596" y="938886"/>
                </a:cubicBezTo>
                <a:close/>
              </a:path>
            </a:pathLst>
          </a:custGeom>
          <a:solidFill>
            <a:srgbClr val="EEF2F5">
              <a:alpha val="69804"/>
            </a:srgbClr>
          </a:solidFill>
          <a:ln w="1270">
            <a:noFill/>
          </a:ln>
        </p:spPr>
        <p:txBody>
          <a:bodyPr lIns="540000" rIns="180000" anchor="ctr" anchorCtr="0"/>
          <a:lstStyle>
            <a:lvl1pPr marL="0" indent="0" algn="l">
              <a:buNone/>
              <a:defRPr sz="1800">
                <a:solidFill>
                  <a:srgbClr val="32A2B8"/>
                </a:solidFill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isällön paikkamerkki 4">
            <a:extLst>
              <a:ext uri="{FF2B5EF4-FFF2-40B4-BE49-F238E27FC236}">
                <a16:creationId xmlns:a16="http://schemas.microsoft.com/office/drawing/2014/main" id="{6FB45408-72EE-EE4A-1A03-21EE385EF7E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952043" y="1615453"/>
            <a:ext cx="3393714" cy="2419448"/>
          </a:xfrm>
          <a:custGeom>
            <a:avLst/>
            <a:gdLst>
              <a:gd name="connsiteX0" fmla="*/ 0 w 3092768"/>
              <a:gd name="connsiteY0" fmla="*/ 1234441 h 2468881"/>
              <a:gd name="connsiteX1" fmla="*/ 1546384 w 3092768"/>
              <a:gd name="connsiteY1" fmla="*/ 0 h 2468881"/>
              <a:gd name="connsiteX2" fmla="*/ 3092768 w 3092768"/>
              <a:gd name="connsiteY2" fmla="*/ 1234441 h 2468881"/>
              <a:gd name="connsiteX3" fmla="*/ 1546384 w 3092768"/>
              <a:gd name="connsiteY3" fmla="*/ 2468882 h 2468881"/>
              <a:gd name="connsiteX4" fmla="*/ 0 w 3092768"/>
              <a:gd name="connsiteY4" fmla="*/ 1234441 h 2468881"/>
              <a:gd name="connsiteX0" fmla="*/ 54216 w 3146984"/>
              <a:gd name="connsiteY0" fmla="*/ 1234441 h 2501200"/>
              <a:gd name="connsiteX1" fmla="*/ 1600600 w 3146984"/>
              <a:gd name="connsiteY1" fmla="*/ 0 h 2501200"/>
              <a:gd name="connsiteX2" fmla="*/ 3146984 w 3146984"/>
              <a:gd name="connsiteY2" fmla="*/ 1234441 h 2501200"/>
              <a:gd name="connsiteX3" fmla="*/ 1600600 w 3146984"/>
              <a:gd name="connsiteY3" fmla="*/ 2468882 h 2501200"/>
              <a:gd name="connsiteX4" fmla="*/ 467873 w 3146984"/>
              <a:gd name="connsiteY4" fmla="*/ 2063932 h 2501200"/>
              <a:gd name="connsiteX5" fmla="*/ 54216 w 3146984"/>
              <a:gd name="connsiteY5" fmla="*/ 1234441 h 2501200"/>
              <a:gd name="connsiteX0" fmla="*/ 54216 w 3146984"/>
              <a:gd name="connsiteY0" fmla="*/ 1234441 h 2543507"/>
              <a:gd name="connsiteX1" fmla="*/ 1600600 w 3146984"/>
              <a:gd name="connsiteY1" fmla="*/ 0 h 2543507"/>
              <a:gd name="connsiteX2" fmla="*/ 3146984 w 3146984"/>
              <a:gd name="connsiteY2" fmla="*/ 1234441 h 2543507"/>
              <a:gd name="connsiteX3" fmla="*/ 1600600 w 3146984"/>
              <a:gd name="connsiteY3" fmla="*/ 2468882 h 2543507"/>
              <a:gd name="connsiteX4" fmla="*/ 912010 w 3146984"/>
              <a:gd name="connsiteY4" fmla="*/ 2368731 h 2543507"/>
              <a:gd name="connsiteX5" fmla="*/ 467873 w 3146984"/>
              <a:gd name="connsiteY5" fmla="*/ 2063932 h 2543507"/>
              <a:gd name="connsiteX6" fmla="*/ 54216 w 3146984"/>
              <a:gd name="connsiteY6" fmla="*/ 1234441 h 2543507"/>
              <a:gd name="connsiteX0" fmla="*/ 54216 w 3146984"/>
              <a:gd name="connsiteY0" fmla="*/ 1234441 h 2538781"/>
              <a:gd name="connsiteX1" fmla="*/ 1600600 w 3146984"/>
              <a:gd name="connsiteY1" fmla="*/ 0 h 2538781"/>
              <a:gd name="connsiteX2" fmla="*/ 3146984 w 3146984"/>
              <a:gd name="connsiteY2" fmla="*/ 1234441 h 2538781"/>
              <a:gd name="connsiteX3" fmla="*/ 1600600 w 3146984"/>
              <a:gd name="connsiteY3" fmla="*/ 2468882 h 2538781"/>
              <a:gd name="connsiteX4" fmla="*/ 912010 w 3146984"/>
              <a:gd name="connsiteY4" fmla="*/ 2368731 h 2538781"/>
              <a:gd name="connsiteX5" fmla="*/ 642045 w 3146984"/>
              <a:gd name="connsiteY5" fmla="*/ 2233748 h 2538781"/>
              <a:gd name="connsiteX6" fmla="*/ 467873 w 3146984"/>
              <a:gd name="connsiteY6" fmla="*/ 2063932 h 2538781"/>
              <a:gd name="connsiteX7" fmla="*/ 54216 w 3146984"/>
              <a:gd name="connsiteY7" fmla="*/ 1234441 h 2538781"/>
              <a:gd name="connsiteX0" fmla="*/ 54216 w 3146984"/>
              <a:gd name="connsiteY0" fmla="*/ 1234441 h 2609265"/>
              <a:gd name="connsiteX1" fmla="*/ 1600600 w 3146984"/>
              <a:gd name="connsiteY1" fmla="*/ 0 h 2609265"/>
              <a:gd name="connsiteX2" fmla="*/ 3146984 w 3146984"/>
              <a:gd name="connsiteY2" fmla="*/ 1234441 h 2609265"/>
              <a:gd name="connsiteX3" fmla="*/ 1600600 w 3146984"/>
              <a:gd name="connsiteY3" fmla="*/ 2468882 h 2609265"/>
              <a:gd name="connsiteX4" fmla="*/ 912010 w 3146984"/>
              <a:gd name="connsiteY4" fmla="*/ 2368731 h 2609265"/>
              <a:gd name="connsiteX5" fmla="*/ 311120 w 3146984"/>
              <a:gd name="connsiteY5" fmla="*/ 2603862 h 2609265"/>
              <a:gd name="connsiteX6" fmla="*/ 467873 w 3146984"/>
              <a:gd name="connsiteY6" fmla="*/ 2063932 h 2609265"/>
              <a:gd name="connsiteX7" fmla="*/ 54216 w 3146984"/>
              <a:gd name="connsiteY7" fmla="*/ 1234441 h 2609265"/>
              <a:gd name="connsiteX0" fmla="*/ 54216 w 3146984"/>
              <a:gd name="connsiteY0" fmla="*/ 1234441 h 2609265"/>
              <a:gd name="connsiteX1" fmla="*/ 1600600 w 3146984"/>
              <a:gd name="connsiteY1" fmla="*/ 0 h 2609265"/>
              <a:gd name="connsiteX2" fmla="*/ 3146984 w 3146984"/>
              <a:gd name="connsiteY2" fmla="*/ 1234441 h 2609265"/>
              <a:gd name="connsiteX3" fmla="*/ 1600600 w 3146984"/>
              <a:gd name="connsiteY3" fmla="*/ 2468882 h 2609265"/>
              <a:gd name="connsiteX4" fmla="*/ 912010 w 3146984"/>
              <a:gd name="connsiteY4" fmla="*/ 2368731 h 2609265"/>
              <a:gd name="connsiteX5" fmla="*/ 311120 w 3146984"/>
              <a:gd name="connsiteY5" fmla="*/ 2603862 h 2609265"/>
              <a:gd name="connsiteX6" fmla="*/ 467873 w 3146984"/>
              <a:gd name="connsiteY6" fmla="*/ 2063932 h 2609265"/>
              <a:gd name="connsiteX7" fmla="*/ 54216 w 3146984"/>
              <a:gd name="connsiteY7" fmla="*/ 1234441 h 2609265"/>
              <a:gd name="connsiteX0" fmla="*/ 54216 w 3146984"/>
              <a:gd name="connsiteY0" fmla="*/ 1234441 h 2603862"/>
              <a:gd name="connsiteX1" fmla="*/ 1600600 w 3146984"/>
              <a:gd name="connsiteY1" fmla="*/ 0 h 2603862"/>
              <a:gd name="connsiteX2" fmla="*/ 3146984 w 3146984"/>
              <a:gd name="connsiteY2" fmla="*/ 1234441 h 2603862"/>
              <a:gd name="connsiteX3" fmla="*/ 1600600 w 3146984"/>
              <a:gd name="connsiteY3" fmla="*/ 2468882 h 2603862"/>
              <a:gd name="connsiteX4" fmla="*/ 912010 w 3146984"/>
              <a:gd name="connsiteY4" fmla="*/ 2368731 h 2603862"/>
              <a:gd name="connsiteX5" fmla="*/ 311120 w 3146984"/>
              <a:gd name="connsiteY5" fmla="*/ 2603862 h 2603862"/>
              <a:gd name="connsiteX6" fmla="*/ 467873 w 3146984"/>
              <a:gd name="connsiteY6" fmla="*/ 2063932 h 2603862"/>
              <a:gd name="connsiteX7" fmla="*/ 54216 w 3146984"/>
              <a:gd name="connsiteY7" fmla="*/ 1234441 h 2603862"/>
              <a:gd name="connsiteX0" fmla="*/ 420 w 3093188"/>
              <a:gd name="connsiteY0" fmla="*/ 1234441 h 2603862"/>
              <a:gd name="connsiteX1" fmla="*/ 1546804 w 3093188"/>
              <a:gd name="connsiteY1" fmla="*/ 0 h 2603862"/>
              <a:gd name="connsiteX2" fmla="*/ 3093188 w 3093188"/>
              <a:gd name="connsiteY2" fmla="*/ 1234441 h 2603862"/>
              <a:gd name="connsiteX3" fmla="*/ 1546804 w 3093188"/>
              <a:gd name="connsiteY3" fmla="*/ 2468882 h 2603862"/>
              <a:gd name="connsiteX4" fmla="*/ 858214 w 3093188"/>
              <a:gd name="connsiteY4" fmla="*/ 2368731 h 2603862"/>
              <a:gd name="connsiteX5" fmla="*/ 257324 w 3093188"/>
              <a:gd name="connsiteY5" fmla="*/ 2603862 h 2603862"/>
              <a:gd name="connsiteX6" fmla="*/ 414077 w 3093188"/>
              <a:gd name="connsiteY6" fmla="*/ 2063932 h 2603862"/>
              <a:gd name="connsiteX7" fmla="*/ 420 w 3093188"/>
              <a:gd name="connsiteY7" fmla="*/ 1234441 h 2603862"/>
              <a:gd name="connsiteX0" fmla="*/ 288 w 3093056"/>
              <a:gd name="connsiteY0" fmla="*/ 1113011 h 2604352"/>
              <a:gd name="connsiteX1" fmla="*/ 1546672 w 3093056"/>
              <a:gd name="connsiteY1" fmla="*/ 490 h 2604352"/>
              <a:gd name="connsiteX2" fmla="*/ 3093056 w 3093056"/>
              <a:gd name="connsiteY2" fmla="*/ 1234931 h 2604352"/>
              <a:gd name="connsiteX3" fmla="*/ 1546672 w 3093056"/>
              <a:gd name="connsiteY3" fmla="*/ 2469372 h 2604352"/>
              <a:gd name="connsiteX4" fmla="*/ 858082 w 3093056"/>
              <a:gd name="connsiteY4" fmla="*/ 2369221 h 2604352"/>
              <a:gd name="connsiteX5" fmla="*/ 257192 w 3093056"/>
              <a:gd name="connsiteY5" fmla="*/ 2604352 h 2604352"/>
              <a:gd name="connsiteX6" fmla="*/ 413945 w 3093056"/>
              <a:gd name="connsiteY6" fmla="*/ 2064422 h 2604352"/>
              <a:gd name="connsiteX7" fmla="*/ 288 w 3093056"/>
              <a:gd name="connsiteY7" fmla="*/ 1113011 h 2604352"/>
              <a:gd name="connsiteX0" fmla="*/ 449 w 3093217"/>
              <a:gd name="connsiteY0" fmla="*/ 1113063 h 2604404"/>
              <a:gd name="connsiteX1" fmla="*/ 1546833 w 3093217"/>
              <a:gd name="connsiteY1" fmla="*/ 542 h 2604404"/>
              <a:gd name="connsiteX2" fmla="*/ 3093217 w 3093217"/>
              <a:gd name="connsiteY2" fmla="*/ 1234983 h 2604404"/>
              <a:gd name="connsiteX3" fmla="*/ 1546833 w 3093217"/>
              <a:gd name="connsiteY3" fmla="*/ 2469424 h 2604404"/>
              <a:gd name="connsiteX4" fmla="*/ 858243 w 3093217"/>
              <a:gd name="connsiteY4" fmla="*/ 2369273 h 2604404"/>
              <a:gd name="connsiteX5" fmla="*/ 257353 w 3093217"/>
              <a:gd name="connsiteY5" fmla="*/ 2604404 h 2604404"/>
              <a:gd name="connsiteX6" fmla="*/ 414106 w 3093217"/>
              <a:gd name="connsiteY6" fmla="*/ 2064474 h 2604404"/>
              <a:gd name="connsiteX7" fmla="*/ 449 w 3093217"/>
              <a:gd name="connsiteY7" fmla="*/ 1113063 h 2604404"/>
              <a:gd name="connsiteX0" fmla="*/ 449 w 3093217"/>
              <a:gd name="connsiteY0" fmla="*/ 1112524 h 2603865"/>
              <a:gd name="connsiteX1" fmla="*/ 1546833 w 3093217"/>
              <a:gd name="connsiteY1" fmla="*/ 3 h 2603865"/>
              <a:gd name="connsiteX2" fmla="*/ 3093217 w 3093217"/>
              <a:gd name="connsiteY2" fmla="*/ 1234444 h 2603865"/>
              <a:gd name="connsiteX3" fmla="*/ 1546833 w 3093217"/>
              <a:gd name="connsiteY3" fmla="*/ 2468885 h 2603865"/>
              <a:gd name="connsiteX4" fmla="*/ 858243 w 3093217"/>
              <a:gd name="connsiteY4" fmla="*/ 2368734 h 2603865"/>
              <a:gd name="connsiteX5" fmla="*/ 257353 w 3093217"/>
              <a:gd name="connsiteY5" fmla="*/ 2603865 h 2603865"/>
              <a:gd name="connsiteX6" fmla="*/ 414106 w 3093217"/>
              <a:gd name="connsiteY6" fmla="*/ 2063935 h 2603865"/>
              <a:gd name="connsiteX7" fmla="*/ 449 w 3093217"/>
              <a:gd name="connsiteY7" fmla="*/ 1112524 h 2603865"/>
              <a:gd name="connsiteX0" fmla="*/ 449 w 3123697"/>
              <a:gd name="connsiteY0" fmla="*/ 1113026 h 2604367"/>
              <a:gd name="connsiteX1" fmla="*/ 1546833 w 3123697"/>
              <a:gd name="connsiteY1" fmla="*/ 505 h 2604367"/>
              <a:gd name="connsiteX2" fmla="*/ 3123697 w 3123697"/>
              <a:gd name="connsiteY2" fmla="*/ 1230592 h 2604367"/>
              <a:gd name="connsiteX3" fmla="*/ 1546833 w 3123697"/>
              <a:gd name="connsiteY3" fmla="*/ 2469387 h 2604367"/>
              <a:gd name="connsiteX4" fmla="*/ 858243 w 3123697"/>
              <a:gd name="connsiteY4" fmla="*/ 2369236 h 2604367"/>
              <a:gd name="connsiteX5" fmla="*/ 257353 w 3123697"/>
              <a:gd name="connsiteY5" fmla="*/ 2604367 h 2604367"/>
              <a:gd name="connsiteX6" fmla="*/ 414106 w 3123697"/>
              <a:gd name="connsiteY6" fmla="*/ 2064437 h 2604367"/>
              <a:gd name="connsiteX7" fmla="*/ 449 w 3123697"/>
              <a:gd name="connsiteY7" fmla="*/ 1113026 h 2604367"/>
              <a:gd name="connsiteX0" fmla="*/ 449 w 3125777"/>
              <a:gd name="connsiteY0" fmla="*/ 1113026 h 2604367"/>
              <a:gd name="connsiteX1" fmla="*/ 1546833 w 3125777"/>
              <a:gd name="connsiteY1" fmla="*/ 505 h 2604367"/>
              <a:gd name="connsiteX2" fmla="*/ 3123697 w 3125777"/>
              <a:gd name="connsiteY2" fmla="*/ 1230592 h 2604367"/>
              <a:gd name="connsiteX3" fmla="*/ 1546833 w 3125777"/>
              <a:gd name="connsiteY3" fmla="*/ 2469387 h 2604367"/>
              <a:gd name="connsiteX4" fmla="*/ 858243 w 3125777"/>
              <a:gd name="connsiteY4" fmla="*/ 2369236 h 2604367"/>
              <a:gd name="connsiteX5" fmla="*/ 257353 w 3125777"/>
              <a:gd name="connsiteY5" fmla="*/ 2604367 h 2604367"/>
              <a:gd name="connsiteX6" fmla="*/ 414106 w 3125777"/>
              <a:gd name="connsiteY6" fmla="*/ 2064437 h 2604367"/>
              <a:gd name="connsiteX7" fmla="*/ 449 w 3125777"/>
              <a:gd name="connsiteY7" fmla="*/ 1113026 h 2604367"/>
              <a:gd name="connsiteX0" fmla="*/ 449 w 3123697"/>
              <a:gd name="connsiteY0" fmla="*/ 1113026 h 2604367"/>
              <a:gd name="connsiteX1" fmla="*/ 1546833 w 3123697"/>
              <a:gd name="connsiteY1" fmla="*/ 505 h 2604367"/>
              <a:gd name="connsiteX2" fmla="*/ 3123697 w 3123697"/>
              <a:gd name="connsiteY2" fmla="*/ 1230592 h 2604367"/>
              <a:gd name="connsiteX3" fmla="*/ 1546833 w 3123697"/>
              <a:gd name="connsiteY3" fmla="*/ 2469387 h 2604367"/>
              <a:gd name="connsiteX4" fmla="*/ 858243 w 3123697"/>
              <a:gd name="connsiteY4" fmla="*/ 2369236 h 2604367"/>
              <a:gd name="connsiteX5" fmla="*/ 257353 w 3123697"/>
              <a:gd name="connsiteY5" fmla="*/ 2604367 h 2604367"/>
              <a:gd name="connsiteX6" fmla="*/ 414106 w 3123697"/>
              <a:gd name="connsiteY6" fmla="*/ 2064437 h 2604367"/>
              <a:gd name="connsiteX7" fmla="*/ 449 w 3123697"/>
              <a:gd name="connsiteY7" fmla="*/ 1113026 h 2604367"/>
              <a:gd name="connsiteX0" fmla="*/ 449 w 3125481"/>
              <a:gd name="connsiteY0" fmla="*/ 1113026 h 2604367"/>
              <a:gd name="connsiteX1" fmla="*/ 1546833 w 3125481"/>
              <a:gd name="connsiteY1" fmla="*/ 505 h 2604367"/>
              <a:gd name="connsiteX2" fmla="*/ 3123697 w 3125481"/>
              <a:gd name="connsiteY2" fmla="*/ 1230592 h 2604367"/>
              <a:gd name="connsiteX3" fmla="*/ 1546833 w 3125481"/>
              <a:gd name="connsiteY3" fmla="*/ 2469387 h 2604367"/>
              <a:gd name="connsiteX4" fmla="*/ 858243 w 3125481"/>
              <a:gd name="connsiteY4" fmla="*/ 2369236 h 2604367"/>
              <a:gd name="connsiteX5" fmla="*/ 257353 w 3125481"/>
              <a:gd name="connsiteY5" fmla="*/ 2604367 h 2604367"/>
              <a:gd name="connsiteX6" fmla="*/ 414106 w 3125481"/>
              <a:gd name="connsiteY6" fmla="*/ 2064437 h 2604367"/>
              <a:gd name="connsiteX7" fmla="*/ 449 w 3125481"/>
              <a:gd name="connsiteY7" fmla="*/ 1113026 h 2604367"/>
              <a:gd name="connsiteX0" fmla="*/ 449 w 3125481"/>
              <a:gd name="connsiteY0" fmla="*/ 1113026 h 2604367"/>
              <a:gd name="connsiteX1" fmla="*/ 1546833 w 3125481"/>
              <a:gd name="connsiteY1" fmla="*/ 505 h 2604367"/>
              <a:gd name="connsiteX2" fmla="*/ 3123697 w 3125481"/>
              <a:gd name="connsiteY2" fmla="*/ 1230592 h 2604367"/>
              <a:gd name="connsiteX3" fmla="*/ 1546833 w 3125481"/>
              <a:gd name="connsiteY3" fmla="*/ 2469387 h 2604367"/>
              <a:gd name="connsiteX4" fmla="*/ 858243 w 3125481"/>
              <a:gd name="connsiteY4" fmla="*/ 2369236 h 2604367"/>
              <a:gd name="connsiteX5" fmla="*/ 257353 w 3125481"/>
              <a:gd name="connsiteY5" fmla="*/ 2604367 h 2604367"/>
              <a:gd name="connsiteX6" fmla="*/ 414106 w 3125481"/>
              <a:gd name="connsiteY6" fmla="*/ 2064437 h 2604367"/>
              <a:gd name="connsiteX7" fmla="*/ 449 w 3125481"/>
              <a:gd name="connsiteY7" fmla="*/ 1113026 h 2604367"/>
              <a:gd name="connsiteX0" fmla="*/ 449 w 3123778"/>
              <a:gd name="connsiteY0" fmla="*/ 1113026 h 2604367"/>
              <a:gd name="connsiteX1" fmla="*/ 1546833 w 3123778"/>
              <a:gd name="connsiteY1" fmla="*/ 505 h 2604367"/>
              <a:gd name="connsiteX2" fmla="*/ 3123697 w 3123778"/>
              <a:gd name="connsiteY2" fmla="*/ 1230592 h 2604367"/>
              <a:gd name="connsiteX3" fmla="*/ 1612147 w 3123778"/>
              <a:gd name="connsiteY3" fmla="*/ 2447616 h 2604367"/>
              <a:gd name="connsiteX4" fmla="*/ 858243 w 3123778"/>
              <a:gd name="connsiteY4" fmla="*/ 2369236 h 2604367"/>
              <a:gd name="connsiteX5" fmla="*/ 257353 w 3123778"/>
              <a:gd name="connsiteY5" fmla="*/ 2604367 h 2604367"/>
              <a:gd name="connsiteX6" fmla="*/ 414106 w 3123778"/>
              <a:gd name="connsiteY6" fmla="*/ 2064437 h 2604367"/>
              <a:gd name="connsiteX7" fmla="*/ 449 w 3123778"/>
              <a:gd name="connsiteY7" fmla="*/ 1113026 h 2604367"/>
              <a:gd name="connsiteX0" fmla="*/ 449 w 3123773"/>
              <a:gd name="connsiteY0" fmla="*/ 1113026 h 2604367"/>
              <a:gd name="connsiteX1" fmla="*/ 1546833 w 3123773"/>
              <a:gd name="connsiteY1" fmla="*/ 505 h 2604367"/>
              <a:gd name="connsiteX2" fmla="*/ 3123697 w 3123773"/>
              <a:gd name="connsiteY2" fmla="*/ 1230592 h 2604367"/>
              <a:gd name="connsiteX3" fmla="*/ 1612147 w 3123773"/>
              <a:gd name="connsiteY3" fmla="*/ 2447616 h 2604367"/>
              <a:gd name="connsiteX4" fmla="*/ 875660 w 3123773"/>
              <a:gd name="connsiteY4" fmla="*/ 2356173 h 2604367"/>
              <a:gd name="connsiteX5" fmla="*/ 257353 w 3123773"/>
              <a:gd name="connsiteY5" fmla="*/ 2604367 h 2604367"/>
              <a:gd name="connsiteX6" fmla="*/ 414106 w 3123773"/>
              <a:gd name="connsiteY6" fmla="*/ 2064437 h 2604367"/>
              <a:gd name="connsiteX7" fmla="*/ 449 w 3123773"/>
              <a:gd name="connsiteY7" fmla="*/ 1113026 h 2604367"/>
              <a:gd name="connsiteX0" fmla="*/ 449 w 3128329"/>
              <a:gd name="connsiteY0" fmla="*/ 1113026 h 2604367"/>
              <a:gd name="connsiteX1" fmla="*/ 1546833 w 3128329"/>
              <a:gd name="connsiteY1" fmla="*/ 505 h 2604367"/>
              <a:gd name="connsiteX2" fmla="*/ 3123697 w 3128329"/>
              <a:gd name="connsiteY2" fmla="*/ 1230592 h 2604367"/>
              <a:gd name="connsiteX3" fmla="*/ 1990970 w 3128329"/>
              <a:gd name="connsiteY3" fmla="*/ 2421490 h 2604367"/>
              <a:gd name="connsiteX4" fmla="*/ 875660 w 3128329"/>
              <a:gd name="connsiteY4" fmla="*/ 2356173 h 2604367"/>
              <a:gd name="connsiteX5" fmla="*/ 257353 w 3128329"/>
              <a:gd name="connsiteY5" fmla="*/ 2604367 h 2604367"/>
              <a:gd name="connsiteX6" fmla="*/ 414106 w 3128329"/>
              <a:gd name="connsiteY6" fmla="*/ 2064437 h 2604367"/>
              <a:gd name="connsiteX7" fmla="*/ 449 w 3128329"/>
              <a:gd name="connsiteY7" fmla="*/ 1113026 h 2604367"/>
              <a:gd name="connsiteX0" fmla="*/ 449 w 3128741"/>
              <a:gd name="connsiteY0" fmla="*/ 1113026 h 2604367"/>
              <a:gd name="connsiteX1" fmla="*/ 1546833 w 3128741"/>
              <a:gd name="connsiteY1" fmla="*/ 505 h 2604367"/>
              <a:gd name="connsiteX2" fmla="*/ 3123697 w 3128741"/>
              <a:gd name="connsiteY2" fmla="*/ 1230592 h 2604367"/>
              <a:gd name="connsiteX3" fmla="*/ 1990970 w 3128741"/>
              <a:gd name="connsiteY3" fmla="*/ 2421490 h 2604367"/>
              <a:gd name="connsiteX4" fmla="*/ 875660 w 3128741"/>
              <a:gd name="connsiteY4" fmla="*/ 2356173 h 2604367"/>
              <a:gd name="connsiteX5" fmla="*/ 257353 w 3128741"/>
              <a:gd name="connsiteY5" fmla="*/ 2604367 h 2604367"/>
              <a:gd name="connsiteX6" fmla="*/ 414106 w 3128741"/>
              <a:gd name="connsiteY6" fmla="*/ 2064437 h 2604367"/>
              <a:gd name="connsiteX7" fmla="*/ 449 w 3128741"/>
              <a:gd name="connsiteY7" fmla="*/ 1113026 h 2604367"/>
              <a:gd name="connsiteX0" fmla="*/ 449 w 3124188"/>
              <a:gd name="connsiteY0" fmla="*/ 1113026 h 2604367"/>
              <a:gd name="connsiteX1" fmla="*/ 1546833 w 3124188"/>
              <a:gd name="connsiteY1" fmla="*/ 505 h 2604367"/>
              <a:gd name="connsiteX2" fmla="*/ 3123697 w 3124188"/>
              <a:gd name="connsiteY2" fmla="*/ 1230592 h 2604367"/>
              <a:gd name="connsiteX3" fmla="*/ 1990970 w 3124188"/>
              <a:gd name="connsiteY3" fmla="*/ 2421490 h 2604367"/>
              <a:gd name="connsiteX4" fmla="*/ 875660 w 3124188"/>
              <a:gd name="connsiteY4" fmla="*/ 2356173 h 2604367"/>
              <a:gd name="connsiteX5" fmla="*/ 257353 w 3124188"/>
              <a:gd name="connsiteY5" fmla="*/ 2604367 h 2604367"/>
              <a:gd name="connsiteX6" fmla="*/ 414106 w 3124188"/>
              <a:gd name="connsiteY6" fmla="*/ 2064437 h 2604367"/>
              <a:gd name="connsiteX7" fmla="*/ 449 w 3124188"/>
              <a:gd name="connsiteY7" fmla="*/ 1113026 h 2604367"/>
              <a:gd name="connsiteX0" fmla="*/ 449 w 3119791"/>
              <a:gd name="connsiteY0" fmla="*/ 1112524 h 2603865"/>
              <a:gd name="connsiteX1" fmla="*/ 1546833 w 3119791"/>
              <a:gd name="connsiteY1" fmla="*/ 3 h 2603865"/>
              <a:gd name="connsiteX2" fmla="*/ 3119343 w 3119791"/>
              <a:gd name="connsiteY2" fmla="*/ 1121233 h 2603865"/>
              <a:gd name="connsiteX3" fmla="*/ 1990970 w 3119791"/>
              <a:gd name="connsiteY3" fmla="*/ 2420988 h 2603865"/>
              <a:gd name="connsiteX4" fmla="*/ 875660 w 3119791"/>
              <a:gd name="connsiteY4" fmla="*/ 2355671 h 2603865"/>
              <a:gd name="connsiteX5" fmla="*/ 257353 w 3119791"/>
              <a:gd name="connsiteY5" fmla="*/ 2603865 h 2603865"/>
              <a:gd name="connsiteX6" fmla="*/ 414106 w 3119791"/>
              <a:gd name="connsiteY6" fmla="*/ 2063935 h 2603865"/>
              <a:gd name="connsiteX7" fmla="*/ 449 w 3119791"/>
              <a:gd name="connsiteY7" fmla="*/ 1112524 h 2603865"/>
              <a:gd name="connsiteX0" fmla="*/ 449 w 3119817"/>
              <a:gd name="connsiteY0" fmla="*/ 1112524 h 2603865"/>
              <a:gd name="connsiteX1" fmla="*/ 1546833 w 3119817"/>
              <a:gd name="connsiteY1" fmla="*/ 3 h 2603865"/>
              <a:gd name="connsiteX2" fmla="*/ 3119343 w 3119817"/>
              <a:gd name="connsiteY2" fmla="*/ 1121233 h 2603865"/>
              <a:gd name="connsiteX3" fmla="*/ 1990970 w 3119817"/>
              <a:gd name="connsiteY3" fmla="*/ 2420988 h 2603865"/>
              <a:gd name="connsiteX4" fmla="*/ 875660 w 3119817"/>
              <a:gd name="connsiteY4" fmla="*/ 2355671 h 2603865"/>
              <a:gd name="connsiteX5" fmla="*/ 257353 w 3119817"/>
              <a:gd name="connsiteY5" fmla="*/ 2603865 h 2603865"/>
              <a:gd name="connsiteX6" fmla="*/ 414106 w 3119817"/>
              <a:gd name="connsiteY6" fmla="*/ 2063935 h 2603865"/>
              <a:gd name="connsiteX7" fmla="*/ 449 w 3119817"/>
              <a:gd name="connsiteY7" fmla="*/ 1112524 h 2603865"/>
              <a:gd name="connsiteX0" fmla="*/ 6 w 3119374"/>
              <a:gd name="connsiteY0" fmla="*/ 1112524 h 2603865"/>
              <a:gd name="connsiteX1" fmla="*/ 1546390 w 3119374"/>
              <a:gd name="connsiteY1" fmla="*/ 3 h 2603865"/>
              <a:gd name="connsiteX2" fmla="*/ 3118900 w 3119374"/>
              <a:gd name="connsiteY2" fmla="*/ 1121233 h 2603865"/>
              <a:gd name="connsiteX3" fmla="*/ 1990527 w 3119374"/>
              <a:gd name="connsiteY3" fmla="*/ 2420988 h 2603865"/>
              <a:gd name="connsiteX4" fmla="*/ 875217 w 3119374"/>
              <a:gd name="connsiteY4" fmla="*/ 2355671 h 2603865"/>
              <a:gd name="connsiteX5" fmla="*/ 256910 w 3119374"/>
              <a:gd name="connsiteY5" fmla="*/ 2603865 h 2603865"/>
              <a:gd name="connsiteX6" fmla="*/ 413663 w 3119374"/>
              <a:gd name="connsiteY6" fmla="*/ 2063935 h 2603865"/>
              <a:gd name="connsiteX7" fmla="*/ 6 w 3119374"/>
              <a:gd name="connsiteY7" fmla="*/ 1112524 h 2603865"/>
              <a:gd name="connsiteX0" fmla="*/ 6 w 3093249"/>
              <a:gd name="connsiteY0" fmla="*/ 969979 h 2605011"/>
              <a:gd name="connsiteX1" fmla="*/ 1520265 w 3093249"/>
              <a:gd name="connsiteY1" fmla="*/ 1149 h 2605011"/>
              <a:gd name="connsiteX2" fmla="*/ 3092775 w 3093249"/>
              <a:gd name="connsiteY2" fmla="*/ 1122379 h 2605011"/>
              <a:gd name="connsiteX3" fmla="*/ 1964402 w 3093249"/>
              <a:gd name="connsiteY3" fmla="*/ 2422134 h 2605011"/>
              <a:gd name="connsiteX4" fmla="*/ 849092 w 3093249"/>
              <a:gd name="connsiteY4" fmla="*/ 2356817 h 2605011"/>
              <a:gd name="connsiteX5" fmla="*/ 230785 w 3093249"/>
              <a:gd name="connsiteY5" fmla="*/ 2605011 h 2605011"/>
              <a:gd name="connsiteX6" fmla="*/ 387538 w 3093249"/>
              <a:gd name="connsiteY6" fmla="*/ 2065081 h 2605011"/>
              <a:gd name="connsiteX7" fmla="*/ 6 w 3093249"/>
              <a:gd name="connsiteY7" fmla="*/ 969979 h 2605011"/>
              <a:gd name="connsiteX0" fmla="*/ 15854 w 3109097"/>
              <a:gd name="connsiteY0" fmla="*/ 970040 h 2605072"/>
              <a:gd name="connsiteX1" fmla="*/ 1536113 w 3109097"/>
              <a:gd name="connsiteY1" fmla="*/ 1210 h 2605072"/>
              <a:gd name="connsiteX2" fmla="*/ 3108623 w 3109097"/>
              <a:gd name="connsiteY2" fmla="*/ 1122440 h 2605072"/>
              <a:gd name="connsiteX3" fmla="*/ 1980250 w 3109097"/>
              <a:gd name="connsiteY3" fmla="*/ 2422195 h 2605072"/>
              <a:gd name="connsiteX4" fmla="*/ 864940 w 3109097"/>
              <a:gd name="connsiteY4" fmla="*/ 2356878 h 2605072"/>
              <a:gd name="connsiteX5" fmla="*/ 246633 w 3109097"/>
              <a:gd name="connsiteY5" fmla="*/ 2605072 h 2605072"/>
              <a:gd name="connsiteX6" fmla="*/ 403386 w 3109097"/>
              <a:gd name="connsiteY6" fmla="*/ 2065142 h 2605072"/>
              <a:gd name="connsiteX7" fmla="*/ 15854 w 3109097"/>
              <a:gd name="connsiteY7" fmla="*/ 970040 h 2605072"/>
              <a:gd name="connsiteX0" fmla="*/ 15854 w 3109097"/>
              <a:gd name="connsiteY0" fmla="*/ 969376 h 2604408"/>
              <a:gd name="connsiteX1" fmla="*/ 1536113 w 3109097"/>
              <a:gd name="connsiteY1" fmla="*/ 546 h 2604408"/>
              <a:gd name="connsiteX2" fmla="*/ 3108623 w 3109097"/>
              <a:gd name="connsiteY2" fmla="*/ 1121776 h 2604408"/>
              <a:gd name="connsiteX3" fmla="*/ 1980250 w 3109097"/>
              <a:gd name="connsiteY3" fmla="*/ 2421531 h 2604408"/>
              <a:gd name="connsiteX4" fmla="*/ 864940 w 3109097"/>
              <a:gd name="connsiteY4" fmla="*/ 2356214 h 2604408"/>
              <a:gd name="connsiteX5" fmla="*/ 246633 w 3109097"/>
              <a:gd name="connsiteY5" fmla="*/ 2604408 h 2604408"/>
              <a:gd name="connsiteX6" fmla="*/ 403386 w 3109097"/>
              <a:gd name="connsiteY6" fmla="*/ 2064478 h 2604408"/>
              <a:gd name="connsiteX7" fmla="*/ 15854 w 3109097"/>
              <a:gd name="connsiteY7" fmla="*/ 969376 h 2604408"/>
              <a:gd name="connsiteX0" fmla="*/ 57359 w 3154927"/>
              <a:gd name="connsiteY0" fmla="*/ 969150 h 2604182"/>
              <a:gd name="connsiteX1" fmla="*/ 1581972 w 3154927"/>
              <a:gd name="connsiteY1" fmla="*/ 320 h 2604182"/>
              <a:gd name="connsiteX2" fmla="*/ 3150128 w 3154927"/>
              <a:gd name="connsiteY2" fmla="*/ 1121550 h 2604182"/>
              <a:gd name="connsiteX3" fmla="*/ 2021755 w 3154927"/>
              <a:gd name="connsiteY3" fmla="*/ 2421305 h 2604182"/>
              <a:gd name="connsiteX4" fmla="*/ 906445 w 3154927"/>
              <a:gd name="connsiteY4" fmla="*/ 2355988 h 2604182"/>
              <a:gd name="connsiteX5" fmla="*/ 288138 w 3154927"/>
              <a:gd name="connsiteY5" fmla="*/ 2604182 h 2604182"/>
              <a:gd name="connsiteX6" fmla="*/ 444891 w 3154927"/>
              <a:gd name="connsiteY6" fmla="*/ 2064252 h 2604182"/>
              <a:gd name="connsiteX7" fmla="*/ 57359 w 3154927"/>
              <a:gd name="connsiteY7" fmla="*/ 969150 h 2604182"/>
              <a:gd name="connsiteX0" fmla="*/ 43848 w 3141416"/>
              <a:gd name="connsiteY0" fmla="*/ 969231 h 2604263"/>
              <a:gd name="connsiteX1" fmla="*/ 1568461 w 3141416"/>
              <a:gd name="connsiteY1" fmla="*/ 401 h 2604263"/>
              <a:gd name="connsiteX2" fmla="*/ 3136617 w 3141416"/>
              <a:gd name="connsiteY2" fmla="*/ 1121631 h 2604263"/>
              <a:gd name="connsiteX3" fmla="*/ 2008244 w 3141416"/>
              <a:gd name="connsiteY3" fmla="*/ 2421386 h 2604263"/>
              <a:gd name="connsiteX4" fmla="*/ 892934 w 3141416"/>
              <a:gd name="connsiteY4" fmla="*/ 2356069 h 2604263"/>
              <a:gd name="connsiteX5" fmla="*/ 274627 w 3141416"/>
              <a:gd name="connsiteY5" fmla="*/ 2604263 h 2604263"/>
              <a:gd name="connsiteX6" fmla="*/ 431380 w 3141416"/>
              <a:gd name="connsiteY6" fmla="*/ 2064333 h 2604263"/>
              <a:gd name="connsiteX7" fmla="*/ 43848 w 3141416"/>
              <a:gd name="connsiteY7" fmla="*/ 969231 h 2604263"/>
              <a:gd name="connsiteX0" fmla="*/ 37294 w 3134862"/>
              <a:gd name="connsiteY0" fmla="*/ 969279 h 2604311"/>
              <a:gd name="connsiteX1" fmla="*/ 1561907 w 3134862"/>
              <a:gd name="connsiteY1" fmla="*/ 449 h 2604311"/>
              <a:gd name="connsiteX2" fmla="*/ 3130063 w 3134862"/>
              <a:gd name="connsiteY2" fmla="*/ 1121679 h 2604311"/>
              <a:gd name="connsiteX3" fmla="*/ 2001690 w 3134862"/>
              <a:gd name="connsiteY3" fmla="*/ 2421434 h 2604311"/>
              <a:gd name="connsiteX4" fmla="*/ 886380 w 3134862"/>
              <a:gd name="connsiteY4" fmla="*/ 2356117 h 2604311"/>
              <a:gd name="connsiteX5" fmla="*/ 268073 w 3134862"/>
              <a:gd name="connsiteY5" fmla="*/ 2604311 h 2604311"/>
              <a:gd name="connsiteX6" fmla="*/ 424826 w 3134862"/>
              <a:gd name="connsiteY6" fmla="*/ 2064381 h 2604311"/>
              <a:gd name="connsiteX7" fmla="*/ 37294 w 3134862"/>
              <a:gd name="connsiteY7" fmla="*/ 969279 h 2604311"/>
              <a:gd name="connsiteX0" fmla="*/ 37294 w 3130438"/>
              <a:gd name="connsiteY0" fmla="*/ 969279 h 2604311"/>
              <a:gd name="connsiteX1" fmla="*/ 1561907 w 3130438"/>
              <a:gd name="connsiteY1" fmla="*/ 449 h 2604311"/>
              <a:gd name="connsiteX2" fmla="*/ 3130063 w 3130438"/>
              <a:gd name="connsiteY2" fmla="*/ 1121679 h 2604311"/>
              <a:gd name="connsiteX3" fmla="*/ 2001690 w 3130438"/>
              <a:gd name="connsiteY3" fmla="*/ 2421434 h 2604311"/>
              <a:gd name="connsiteX4" fmla="*/ 886380 w 3130438"/>
              <a:gd name="connsiteY4" fmla="*/ 2356117 h 2604311"/>
              <a:gd name="connsiteX5" fmla="*/ 268073 w 3130438"/>
              <a:gd name="connsiteY5" fmla="*/ 2604311 h 2604311"/>
              <a:gd name="connsiteX6" fmla="*/ 424826 w 3130438"/>
              <a:gd name="connsiteY6" fmla="*/ 2064381 h 2604311"/>
              <a:gd name="connsiteX7" fmla="*/ 37294 w 3130438"/>
              <a:gd name="connsiteY7" fmla="*/ 969279 h 2604311"/>
              <a:gd name="connsiteX0" fmla="*/ 37294 w 3130454"/>
              <a:gd name="connsiteY0" fmla="*/ 968831 h 2603863"/>
              <a:gd name="connsiteX1" fmla="*/ 1561907 w 3130454"/>
              <a:gd name="connsiteY1" fmla="*/ 1 h 2603863"/>
              <a:gd name="connsiteX2" fmla="*/ 3130063 w 3130454"/>
              <a:gd name="connsiteY2" fmla="*/ 1121231 h 2603863"/>
              <a:gd name="connsiteX3" fmla="*/ 2001690 w 3130454"/>
              <a:gd name="connsiteY3" fmla="*/ 2420986 h 2603863"/>
              <a:gd name="connsiteX4" fmla="*/ 886380 w 3130454"/>
              <a:gd name="connsiteY4" fmla="*/ 2355669 h 2603863"/>
              <a:gd name="connsiteX5" fmla="*/ 268073 w 3130454"/>
              <a:gd name="connsiteY5" fmla="*/ 2603863 h 2603863"/>
              <a:gd name="connsiteX6" fmla="*/ 424826 w 3130454"/>
              <a:gd name="connsiteY6" fmla="*/ 2063933 h 2603863"/>
              <a:gd name="connsiteX7" fmla="*/ 37294 w 3130454"/>
              <a:gd name="connsiteY7" fmla="*/ 968831 h 2603863"/>
              <a:gd name="connsiteX0" fmla="*/ 37294 w 3139116"/>
              <a:gd name="connsiteY0" fmla="*/ 970729 h 2605761"/>
              <a:gd name="connsiteX1" fmla="*/ 1561907 w 3139116"/>
              <a:gd name="connsiteY1" fmla="*/ 1899 h 2605761"/>
              <a:gd name="connsiteX2" fmla="*/ 3138771 w 3139116"/>
              <a:gd name="connsiteY2" fmla="*/ 1184089 h 2605761"/>
              <a:gd name="connsiteX3" fmla="*/ 2001690 w 3139116"/>
              <a:gd name="connsiteY3" fmla="*/ 2422884 h 2605761"/>
              <a:gd name="connsiteX4" fmla="*/ 886380 w 3139116"/>
              <a:gd name="connsiteY4" fmla="*/ 2357567 h 2605761"/>
              <a:gd name="connsiteX5" fmla="*/ 268073 w 3139116"/>
              <a:gd name="connsiteY5" fmla="*/ 2605761 h 2605761"/>
              <a:gd name="connsiteX6" fmla="*/ 424826 w 3139116"/>
              <a:gd name="connsiteY6" fmla="*/ 2065831 h 2605761"/>
              <a:gd name="connsiteX7" fmla="*/ 37294 w 3139116"/>
              <a:gd name="connsiteY7" fmla="*/ 970729 h 2605761"/>
              <a:gd name="connsiteX0" fmla="*/ 37294 w 3138833"/>
              <a:gd name="connsiteY0" fmla="*/ 970729 h 2605761"/>
              <a:gd name="connsiteX1" fmla="*/ 1561907 w 3138833"/>
              <a:gd name="connsiteY1" fmla="*/ 1899 h 2605761"/>
              <a:gd name="connsiteX2" fmla="*/ 3138771 w 3138833"/>
              <a:gd name="connsiteY2" fmla="*/ 1184089 h 2605761"/>
              <a:gd name="connsiteX3" fmla="*/ 2001690 w 3138833"/>
              <a:gd name="connsiteY3" fmla="*/ 2422884 h 2605761"/>
              <a:gd name="connsiteX4" fmla="*/ 886380 w 3138833"/>
              <a:gd name="connsiteY4" fmla="*/ 2357567 h 2605761"/>
              <a:gd name="connsiteX5" fmla="*/ 268073 w 3138833"/>
              <a:gd name="connsiteY5" fmla="*/ 2605761 h 2605761"/>
              <a:gd name="connsiteX6" fmla="*/ 424826 w 3138833"/>
              <a:gd name="connsiteY6" fmla="*/ 2065831 h 2605761"/>
              <a:gd name="connsiteX7" fmla="*/ 37294 w 3138833"/>
              <a:gd name="connsiteY7" fmla="*/ 970729 h 2605761"/>
              <a:gd name="connsiteX0" fmla="*/ 37294 w 3138833"/>
              <a:gd name="connsiteY0" fmla="*/ 970729 h 2605761"/>
              <a:gd name="connsiteX1" fmla="*/ 1561907 w 3138833"/>
              <a:gd name="connsiteY1" fmla="*/ 1899 h 2605761"/>
              <a:gd name="connsiteX2" fmla="*/ 3138771 w 3138833"/>
              <a:gd name="connsiteY2" fmla="*/ 1184089 h 2605761"/>
              <a:gd name="connsiteX3" fmla="*/ 2001690 w 3138833"/>
              <a:gd name="connsiteY3" fmla="*/ 2422884 h 2605761"/>
              <a:gd name="connsiteX4" fmla="*/ 886380 w 3138833"/>
              <a:gd name="connsiteY4" fmla="*/ 2357567 h 2605761"/>
              <a:gd name="connsiteX5" fmla="*/ 268073 w 3138833"/>
              <a:gd name="connsiteY5" fmla="*/ 2605761 h 2605761"/>
              <a:gd name="connsiteX6" fmla="*/ 424826 w 3138833"/>
              <a:gd name="connsiteY6" fmla="*/ 2065831 h 2605761"/>
              <a:gd name="connsiteX7" fmla="*/ 37294 w 3138833"/>
              <a:gd name="connsiteY7" fmla="*/ 970729 h 2605761"/>
              <a:gd name="connsiteX0" fmla="*/ 57360 w 3163524"/>
              <a:gd name="connsiteY0" fmla="*/ 957170 h 2592202"/>
              <a:gd name="connsiteX1" fmla="*/ 1581973 w 3163524"/>
              <a:gd name="connsiteY1" fmla="*/ 1403 h 2592202"/>
              <a:gd name="connsiteX2" fmla="*/ 3158837 w 3163524"/>
              <a:gd name="connsiteY2" fmla="*/ 1170530 h 2592202"/>
              <a:gd name="connsiteX3" fmla="*/ 2021756 w 3163524"/>
              <a:gd name="connsiteY3" fmla="*/ 2409325 h 2592202"/>
              <a:gd name="connsiteX4" fmla="*/ 906446 w 3163524"/>
              <a:gd name="connsiteY4" fmla="*/ 2344008 h 2592202"/>
              <a:gd name="connsiteX5" fmla="*/ 288139 w 3163524"/>
              <a:gd name="connsiteY5" fmla="*/ 2592202 h 2592202"/>
              <a:gd name="connsiteX6" fmla="*/ 444892 w 3163524"/>
              <a:gd name="connsiteY6" fmla="*/ 2052272 h 2592202"/>
              <a:gd name="connsiteX7" fmla="*/ 57360 w 3163524"/>
              <a:gd name="connsiteY7" fmla="*/ 957170 h 2592202"/>
              <a:gd name="connsiteX0" fmla="*/ 57360 w 3163524"/>
              <a:gd name="connsiteY0" fmla="*/ 955912 h 2590944"/>
              <a:gd name="connsiteX1" fmla="*/ 1581973 w 3163524"/>
              <a:gd name="connsiteY1" fmla="*/ 145 h 2590944"/>
              <a:gd name="connsiteX2" fmla="*/ 3158837 w 3163524"/>
              <a:gd name="connsiteY2" fmla="*/ 1169272 h 2590944"/>
              <a:gd name="connsiteX3" fmla="*/ 2021756 w 3163524"/>
              <a:gd name="connsiteY3" fmla="*/ 2408067 h 2590944"/>
              <a:gd name="connsiteX4" fmla="*/ 906446 w 3163524"/>
              <a:gd name="connsiteY4" fmla="*/ 2342750 h 2590944"/>
              <a:gd name="connsiteX5" fmla="*/ 288139 w 3163524"/>
              <a:gd name="connsiteY5" fmla="*/ 2590944 h 2590944"/>
              <a:gd name="connsiteX6" fmla="*/ 444892 w 3163524"/>
              <a:gd name="connsiteY6" fmla="*/ 2051014 h 2590944"/>
              <a:gd name="connsiteX7" fmla="*/ 57360 w 3163524"/>
              <a:gd name="connsiteY7" fmla="*/ 955912 h 2590944"/>
              <a:gd name="connsiteX0" fmla="*/ 57360 w 3189384"/>
              <a:gd name="connsiteY0" fmla="*/ 957115 h 2592147"/>
              <a:gd name="connsiteX1" fmla="*/ 1581973 w 3189384"/>
              <a:gd name="connsiteY1" fmla="*/ 1348 h 2592147"/>
              <a:gd name="connsiteX2" fmla="*/ 3184962 w 3189384"/>
              <a:gd name="connsiteY2" fmla="*/ 1166121 h 2592147"/>
              <a:gd name="connsiteX3" fmla="*/ 2021756 w 3189384"/>
              <a:gd name="connsiteY3" fmla="*/ 2409270 h 2592147"/>
              <a:gd name="connsiteX4" fmla="*/ 906446 w 3189384"/>
              <a:gd name="connsiteY4" fmla="*/ 2343953 h 2592147"/>
              <a:gd name="connsiteX5" fmla="*/ 288139 w 3189384"/>
              <a:gd name="connsiteY5" fmla="*/ 2592147 h 2592147"/>
              <a:gd name="connsiteX6" fmla="*/ 444892 w 3189384"/>
              <a:gd name="connsiteY6" fmla="*/ 2052217 h 2592147"/>
              <a:gd name="connsiteX7" fmla="*/ 57360 w 3189384"/>
              <a:gd name="connsiteY7" fmla="*/ 957115 h 2592147"/>
              <a:gd name="connsiteX0" fmla="*/ 57360 w 3185090"/>
              <a:gd name="connsiteY0" fmla="*/ 957115 h 2592147"/>
              <a:gd name="connsiteX1" fmla="*/ 1581973 w 3185090"/>
              <a:gd name="connsiteY1" fmla="*/ 1348 h 2592147"/>
              <a:gd name="connsiteX2" fmla="*/ 3184962 w 3185090"/>
              <a:gd name="connsiteY2" fmla="*/ 1166121 h 2592147"/>
              <a:gd name="connsiteX3" fmla="*/ 2021756 w 3185090"/>
              <a:gd name="connsiteY3" fmla="*/ 2409270 h 2592147"/>
              <a:gd name="connsiteX4" fmla="*/ 906446 w 3185090"/>
              <a:gd name="connsiteY4" fmla="*/ 2343953 h 2592147"/>
              <a:gd name="connsiteX5" fmla="*/ 288139 w 3185090"/>
              <a:gd name="connsiteY5" fmla="*/ 2592147 h 2592147"/>
              <a:gd name="connsiteX6" fmla="*/ 444892 w 3185090"/>
              <a:gd name="connsiteY6" fmla="*/ 2052217 h 2592147"/>
              <a:gd name="connsiteX7" fmla="*/ 57360 w 3185090"/>
              <a:gd name="connsiteY7" fmla="*/ 957115 h 2592147"/>
              <a:gd name="connsiteX0" fmla="*/ 57360 w 3185123"/>
              <a:gd name="connsiteY0" fmla="*/ 955858 h 2590890"/>
              <a:gd name="connsiteX1" fmla="*/ 1581973 w 3185123"/>
              <a:gd name="connsiteY1" fmla="*/ 91 h 2590890"/>
              <a:gd name="connsiteX2" fmla="*/ 3184962 w 3185123"/>
              <a:gd name="connsiteY2" fmla="*/ 1164864 h 2590890"/>
              <a:gd name="connsiteX3" fmla="*/ 2021756 w 3185123"/>
              <a:gd name="connsiteY3" fmla="*/ 2408013 h 2590890"/>
              <a:gd name="connsiteX4" fmla="*/ 906446 w 3185123"/>
              <a:gd name="connsiteY4" fmla="*/ 2342696 h 2590890"/>
              <a:gd name="connsiteX5" fmla="*/ 288139 w 3185123"/>
              <a:gd name="connsiteY5" fmla="*/ 2590890 h 2590890"/>
              <a:gd name="connsiteX6" fmla="*/ 444892 w 3185123"/>
              <a:gd name="connsiteY6" fmla="*/ 2050960 h 2590890"/>
              <a:gd name="connsiteX7" fmla="*/ 57360 w 3185123"/>
              <a:gd name="connsiteY7" fmla="*/ 955858 h 2590890"/>
              <a:gd name="connsiteX0" fmla="*/ 64012 w 3139490"/>
              <a:gd name="connsiteY0" fmla="*/ 935677 h 2592480"/>
              <a:gd name="connsiteX1" fmla="*/ 1536374 w 3139490"/>
              <a:gd name="connsiteY1" fmla="*/ 1681 h 2592480"/>
              <a:gd name="connsiteX2" fmla="*/ 3139363 w 3139490"/>
              <a:gd name="connsiteY2" fmla="*/ 1166454 h 2592480"/>
              <a:gd name="connsiteX3" fmla="*/ 1976157 w 3139490"/>
              <a:gd name="connsiteY3" fmla="*/ 2409603 h 2592480"/>
              <a:gd name="connsiteX4" fmla="*/ 860847 w 3139490"/>
              <a:gd name="connsiteY4" fmla="*/ 2344286 h 2592480"/>
              <a:gd name="connsiteX5" fmla="*/ 242540 w 3139490"/>
              <a:gd name="connsiteY5" fmla="*/ 2592480 h 2592480"/>
              <a:gd name="connsiteX6" fmla="*/ 399293 w 3139490"/>
              <a:gd name="connsiteY6" fmla="*/ 2052550 h 2592480"/>
              <a:gd name="connsiteX7" fmla="*/ 64012 w 3139490"/>
              <a:gd name="connsiteY7" fmla="*/ 935677 h 2592480"/>
              <a:gd name="connsiteX0" fmla="*/ 30881 w 3106359"/>
              <a:gd name="connsiteY0" fmla="*/ 936169 h 2592972"/>
              <a:gd name="connsiteX1" fmla="*/ 1503243 w 3106359"/>
              <a:gd name="connsiteY1" fmla="*/ 2173 h 2592972"/>
              <a:gd name="connsiteX2" fmla="*/ 3106232 w 3106359"/>
              <a:gd name="connsiteY2" fmla="*/ 1166946 h 2592972"/>
              <a:gd name="connsiteX3" fmla="*/ 1943026 w 3106359"/>
              <a:gd name="connsiteY3" fmla="*/ 2410095 h 2592972"/>
              <a:gd name="connsiteX4" fmla="*/ 827716 w 3106359"/>
              <a:gd name="connsiteY4" fmla="*/ 2344778 h 2592972"/>
              <a:gd name="connsiteX5" fmla="*/ 209409 w 3106359"/>
              <a:gd name="connsiteY5" fmla="*/ 2592972 h 2592972"/>
              <a:gd name="connsiteX6" fmla="*/ 366162 w 3106359"/>
              <a:gd name="connsiteY6" fmla="*/ 2053042 h 2592972"/>
              <a:gd name="connsiteX7" fmla="*/ 30881 w 3106359"/>
              <a:gd name="connsiteY7" fmla="*/ 936169 h 2592972"/>
              <a:gd name="connsiteX0" fmla="*/ 62211 w 3137689"/>
              <a:gd name="connsiteY0" fmla="*/ 935673 h 2592476"/>
              <a:gd name="connsiteX1" fmla="*/ 1534573 w 3137689"/>
              <a:gd name="connsiteY1" fmla="*/ 1677 h 2592476"/>
              <a:gd name="connsiteX2" fmla="*/ 3137562 w 3137689"/>
              <a:gd name="connsiteY2" fmla="*/ 1166450 h 2592476"/>
              <a:gd name="connsiteX3" fmla="*/ 1974356 w 3137689"/>
              <a:gd name="connsiteY3" fmla="*/ 2409599 h 2592476"/>
              <a:gd name="connsiteX4" fmla="*/ 859046 w 3137689"/>
              <a:gd name="connsiteY4" fmla="*/ 2344282 h 2592476"/>
              <a:gd name="connsiteX5" fmla="*/ 240739 w 3137689"/>
              <a:gd name="connsiteY5" fmla="*/ 2592476 h 2592476"/>
              <a:gd name="connsiteX6" fmla="*/ 406200 w 3137689"/>
              <a:gd name="connsiteY6" fmla="*/ 2039484 h 2592476"/>
              <a:gd name="connsiteX7" fmla="*/ 62211 w 3137689"/>
              <a:gd name="connsiteY7" fmla="*/ 935673 h 2592476"/>
              <a:gd name="connsiteX0" fmla="*/ 62211 w 3137689"/>
              <a:gd name="connsiteY0" fmla="*/ 935673 h 2592476"/>
              <a:gd name="connsiteX1" fmla="*/ 1534573 w 3137689"/>
              <a:gd name="connsiteY1" fmla="*/ 1677 h 2592476"/>
              <a:gd name="connsiteX2" fmla="*/ 3137562 w 3137689"/>
              <a:gd name="connsiteY2" fmla="*/ 1166450 h 2592476"/>
              <a:gd name="connsiteX3" fmla="*/ 1974356 w 3137689"/>
              <a:gd name="connsiteY3" fmla="*/ 2409599 h 2592476"/>
              <a:gd name="connsiteX4" fmla="*/ 859046 w 3137689"/>
              <a:gd name="connsiteY4" fmla="*/ 2344282 h 2592476"/>
              <a:gd name="connsiteX5" fmla="*/ 240739 w 3137689"/>
              <a:gd name="connsiteY5" fmla="*/ 2592476 h 2592476"/>
              <a:gd name="connsiteX6" fmla="*/ 406200 w 3137689"/>
              <a:gd name="connsiteY6" fmla="*/ 2039484 h 2592476"/>
              <a:gd name="connsiteX7" fmla="*/ 62211 w 3137689"/>
              <a:gd name="connsiteY7" fmla="*/ 935673 h 2592476"/>
              <a:gd name="connsiteX0" fmla="*/ 62211 w 3137692"/>
              <a:gd name="connsiteY0" fmla="*/ 934093 h 2590896"/>
              <a:gd name="connsiteX1" fmla="*/ 1534573 w 3137692"/>
              <a:gd name="connsiteY1" fmla="*/ 97 h 2590896"/>
              <a:gd name="connsiteX2" fmla="*/ 3137562 w 3137692"/>
              <a:gd name="connsiteY2" fmla="*/ 1164870 h 2590896"/>
              <a:gd name="connsiteX3" fmla="*/ 1974356 w 3137692"/>
              <a:gd name="connsiteY3" fmla="*/ 2408019 h 2590896"/>
              <a:gd name="connsiteX4" fmla="*/ 859046 w 3137692"/>
              <a:gd name="connsiteY4" fmla="*/ 2342702 h 2590896"/>
              <a:gd name="connsiteX5" fmla="*/ 240739 w 3137692"/>
              <a:gd name="connsiteY5" fmla="*/ 2590896 h 2590896"/>
              <a:gd name="connsiteX6" fmla="*/ 406200 w 3137692"/>
              <a:gd name="connsiteY6" fmla="*/ 2037904 h 2590896"/>
              <a:gd name="connsiteX7" fmla="*/ 62211 w 3137692"/>
              <a:gd name="connsiteY7" fmla="*/ 934093 h 2590896"/>
              <a:gd name="connsiteX0" fmla="*/ 62211 w 3137692"/>
              <a:gd name="connsiteY0" fmla="*/ 934093 h 2590896"/>
              <a:gd name="connsiteX1" fmla="*/ 1534573 w 3137692"/>
              <a:gd name="connsiteY1" fmla="*/ 97 h 2590896"/>
              <a:gd name="connsiteX2" fmla="*/ 3137562 w 3137692"/>
              <a:gd name="connsiteY2" fmla="*/ 1164870 h 2590896"/>
              <a:gd name="connsiteX3" fmla="*/ 1974356 w 3137692"/>
              <a:gd name="connsiteY3" fmla="*/ 2408019 h 2590896"/>
              <a:gd name="connsiteX4" fmla="*/ 859046 w 3137692"/>
              <a:gd name="connsiteY4" fmla="*/ 2342702 h 2590896"/>
              <a:gd name="connsiteX5" fmla="*/ 240739 w 3137692"/>
              <a:gd name="connsiteY5" fmla="*/ 2590896 h 2590896"/>
              <a:gd name="connsiteX6" fmla="*/ 406200 w 3137692"/>
              <a:gd name="connsiteY6" fmla="*/ 2037904 h 2590896"/>
              <a:gd name="connsiteX7" fmla="*/ 62211 w 3137692"/>
              <a:gd name="connsiteY7" fmla="*/ 934093 h 2590896"/>
              <a:gd name="connsiteX0" fmla="*/ 0 w 3075481"/>
              <a:gd name="connsiteY0" fmla="*/ 934093 h 2590896"/>
              <a:gd name="connsiteX1" fmla="*/ 1472362 w 3075481"/>
              <a:gd name="connsiteY1" fmla="*/ 97 h 2590896"/>
              <a:gd name="connsiteX2" fmla="*/ 3075351 w 3075481"/>
              <a:gd name="connsiteY2" fmla="*/ 1164870 h 2590896"/>
              <a:gd name="connsiteX3" fmla="*/ 1912145 w 3075481"/>
              <a:gd name="connsiteY3" fmla="*/ 2408019 h 2590896"/>
              <a:gd name="connsiteX4" fmla="*/ 796835 w 3075481"/>
              <a:gd name="connsiteY4" fmla="*/ 2342702 h 2590896"/>
              <a:gd name="connsiteX5" fmla="*/ 178528 w 3075481"/>
              <a:gd name="connsiteY5" fmla="*/ 2590896 h 2590896"/>
              <a:gd name="connsiteX6" fmla="*/ 343989 w 3075481"/>
              <a:gd name="connsiteY6" fmla="*/ 2037904 h 2590896"/>
              <a:gd name="connsiteX7" fmla="*/ 0 w 3075481"/>
              <a:gd name="connsiteY7" fmla="*/ 934093 h 2590896"/>
              <a:gd name="connsiteX0" fmla="*/ 0 w 3075481"/>
              <a:gd name="connsiteY0" fmla="*/ 934093 h 2590896"/>
              <a:gd name="connsiteX1" fmla="*/ 1472362 w 3075481"/>
              <a:gd name="connsiteY1" fmla="*/ 97 h 2590896"/>
              <a:gd name="connsiteX2" fmla="*/ 3075351 w 3075481"/>
              <a:gd name="connsiteY2" fmla="*/ 1164870 h 2590896"/>
              <a:gd name="connsiteX3" fmla="*/ 1912145 w 3075481"/>
              <a:gd name="connsiteY3" fmla="*/ 2408019 h 2590896"/>
              <a:gd name="connsiteX4" fmla="*/ 796835 w 3075481"/>
              <a:gd name="connsiteY4" fmla="*/ 2342702 h 2590896"/>
              <a:gd name="connsiteX5" fmla="*/ 178528 w 3075481"/>
              <a:gd name="connsiteY5" fmla="*/ 2590896 h 2590896"/>
              <a:gd name="connsiteX6" fmla="*/ 343989 w 3075481"/>
              <a:gd name="connsiteY6" fmla="*/ 2037904 h 2590896"/>
              <a:gd name="connsiteX7" fmla="*/ 0 w 3075481"/>
              <a:gd name="connsiteY7" fmla="*/ 934093 h 2590896"/>
              <a:gd name="connsiteX0" fmla="*/ 35700 w 3111181"/>
              <a:gd name="connsiteY0" fmla="*/ 934093 h 2590896"/>
              <a:gd name="connsiteX1" fmla="*/ 1508062 w 3111181"/>
              <a:gd name="connsiteY1" fmla="*/ 97 h 2590896"/>
              <a:gd name="connsiteX2" fmla="*/ 3111051 w 3111181"/>
              <a:gd name="connsiteY2" fmla="*/ 1164870 h 2590896"/>
              <a:gd name="connsiteX3" fmla="*/ 1947845 w 3111181"/>
              <a:gd name="connsiteY3" fmla="*/ 2408019 h 2590896"/>
              <a:gd name="connsiteX4" fmla="*/ 832535 w 3111181"/>
              <a:gd name="connsiteY4" fmla="*/ 2342702 h 2590896"/>
              <a:gd name="connsiteX5" fmla="*/ 214228 w 3111181"/>
              <a:gd name="connsiteY5" fmla="*/ 2590896 h 2590896"/>
              <a:gd name="connsiteX6" fmla="*/ 379689 w 3111181"/>
              <a:gd name="connsiteY6" fmla="*/ 2037904 h 2590896"/>
              <a:gd name="connsiteX7" fmla="*/ 35700 w 3111181"/>
              <a:gd name="connsiteY7" fmla="*/ 934093 h 2590896"/>
              <a:gd name="connsiteX0" fmla="*/ 34402 w 3109883"/>
              <a:gd name="connsiteY0" fmla="*/ 934093 h 2590896"/>
              <a:gd name="connsiteX1" fmla="*/ 1506764 w 3109883"/>
              <a:gd name="connsiteY1" fmla="*/ 97 h 2590896"/>
              <a:gd name="connsiteX2" fmla="*/ 3109753 w 3109883"/>
              <a:gd name="connsiteY2" fmla="*/ 1164870 h 2590896"/>
              <a:gd name="connsiteX3" fmla="*/ 1946547 w 3109883"/>
              <a:gd name="connsiteY3" fmla="*/ 2408019 h 2590896"/>
              <a:gd name="connsiteX4" fmla="*/ 831237 w 3109883"/>
              <a:gd name="connsiteY4" fmla="*/ 2342702 h 2590896"/>
              <a:gd name="connsiteX5" fmla="*/ 212930 w 3109883"/>
              <a:gd name="connsiteY5" fmla="*/ 2590896 h 2590896"/>
              <a:gd name="connsiteX6" fmla="*/ 391091 w 3109883"/>
              <a:gd name="connsiteY6" fmla="*/ 2044254 h 2590896"/>
              <a:gd name="connsiteX7" fmla="*/ 34402 w 3109883"/>
              <a:gd name="connsiteY7" fmla="*/ 934093 h 2590896"/>
              <a:gd name="connsiteX0" fmla="*/ 35596 w 3111077"/>
              <a:gd name="connsiteY0" fmla="*/ 934093 h 2590896"/>
              <a:gd name="connsiteX1" fmla="*/ 1507958 w 3111077"/>
              <a:gd name="connsiteY1" fmla="*/ 97 h 2590896"/>
              <a:gd name="connsiteX2" fmla="*/ 3110947 w 3111077"/>
              <a:gd name="connsiteY2" fmla="*/ 1164870 h 2590896"/>
              <a:gd name="connsiteX3" fmla="*/ 1947741 w 3111077"/>
              <a:gd name="connsiteY3" fmla="*/ 2408019 h 2590896"/>
              <a:gd name="connsiteX4" fmla="*/ 832431 w 3111077"/>
              <a:gd name="connsiteY4" fmla="*/ 2342702 h 2590896"/>
              <a:gd name="connsiteX5" fmla="*/ 214124 w 3111077"/>
              <a:gd name="connsiteY5" fmla="*/ 2590896 h 2590896"/>
              <a:gd name="connsiteX6" fmla="*/ 392285 w 3111077"/>
              <a:gd name="connsiteY6" fmla="*/ 2044254 h 2590896"/>
              <a:gd name="connsiteX7" fmla="*/ 35596 w 3111077"/>
              <a:gd name="connsiteY7" fmla="*/ 934093 h 2590896"/>
              <a:gd name="connsiteX0" fmla="*/ 35596 w 3115399"/>
              <a:gd name="connsiteY0" fmla="*/ 938814 h 2595617"/>
              <a:gd name="connsiteX1" fmla="*/ 1506371 w 3115399"/>
              <a:gd name="connsiteY1" fmla="*/ 55 h 2595617"/>
              <a:gd name="connsiteX2" fmla="*/ 3110947 w 3115399"/>
              <a:gd name="connsiteY2" fmla="*/ 1169591 h 2595617"/>
              <a:gd name="connsiteX3" fmla="*/ 1947741 w 3115399"/>
              <a:gd name="connsiteY3" fmla="*/ 2412740 h 2595617"/>
              <a:gd name="connsiteX4" fmla="*/ 832431 w 3115399"/>
              <a:gd name="connsiteY4" fmla="*/ 2347423 h 2595617"/>
              <a:gd name="connsiteX5" fmla="*/ 214124 w 3115399"/>
              <a:gd name="connsiteY5" fmla="*/ 2595617 h 2595617"/>
              <a:gd name="connsiteX6" fmla="*/ 392285 w 3115399"/>
              <a:gd name="connsiteY6" fmla="*/ 2048975 h 2595617"/>
              <a:gd name="connsiteX7" fmla="*/ 35596 w 3115399"/>
              <a:gd name="connsiteY7" fmla="*/ 938814 h 2595617"/>
              <a:gd name="connsiteX0" fmla="*/ 35596 w 3115399"/>
              <a:gd name="connsiteY0" fmla="*/ 938814 h 2595617"/>
              <a:gd name="connsiteX1" fmla="*/ 1506371 w 3115399"/>
              <a:gd name="connsiteY1" fmla="*/ 55 h 2595617"/>
              <a:gd name="connsiteX2" fmla="*/ 3110947 w 3115399"/>
              <a:gd name="connsiteY2" fmla="*/ 1169591 h 2595617"/>
              <a:gd name="connsiteX3" fmla="*/ 1947741 w 3115399"/>
              <a:gd name="connsiteY3" fmla="*/ 2412740 h 2595617"/>
              <a:gd name="connsiteX4" fmla="*/ 832431 w 3115399"/>
              <a:gd name="connsiteY4" fmla="*/ 2347423 h 2595617"/>
              <a:gd name="connsiteX5" fmla="*/ 214124 w 3115399"/>
              <a:gd name="connsiteY5" fmla="*/ 2595617 h 2595617"/>
              <a:gd name="connsiteX6" fmla="*/ 392285 w 3115399"/>
              <a:gd name="connsiteY6" fmla="*/ 2048975 h 2595617"/>
              <a:gd name="connsiteX7" fmla="*/ 35596 w 3115399"/>
              <a:gd name="connsiteY7" fmla="*/ 938814 h 2595617"/>
              <a:gd name="connsiteX0" fmla="*/ 35596 w 3115399"/>
              <a:gd name="connsiteY0" fmla="*/ 938814 h 2595617"/>
              <a:gd name="connsiteX1" fmla="*/ 1506371 w 3115399"/>
              <a:gd name="connsiteY1" fmla="*/ 55 h 2595617"/>
              <a:gd name="connsiteX2" fmla="*/ 3110947 w 3115399"/>
              <a:gd name="connsiteY2" fmla="*/ 1169591 h 2595617"/>
              <a:gd name="connsiteX3" fmla="*/ 1947741 w 3115399"/>
              <a:gd name="connsiteY3" fmla="*/ 2412740 h 2595617"/>
              <a:gd name="connsiteX4" fmla="*/ 832431 w 3115399"/>
              <a:gd name="connsiteY4" fmla="*/ 2347423 h 2595617"/>
              <a:gd name="connsiteX5" fmla="*/ 214124 w 3115399"/>
              <a:gd name="connsiteY5" fmla="*/ 2595617 h 2595617"/>
              <a:gd name="connsiteX6" fmla="*/ 392285 w 3115399"/>
              <a:gd name="connsiteY6" fmla="*/ 2048975 h 2595617"/>
              <a:gd name="connsiteX7" fmla="*/ 35596 w 3115399"/>
              <a:gd name="connsiteY7" fmla="*/ 938814 h 2595617"/>
              <a:gd name="connsiteX0" fmla="*/ 35596 w 3115399"/>
              <a:gd name="connsiteY0" fmla="*/ 938890 h 2595693"/>
              <a:gd name="connsiteX1" fmla="*/ 1506371 w 3115399"/>
              <a:gd name="connsiteY1" fmla="*/ 131 h 2595693"/>
              <a:gd name="connsiteX2" fmla="*/ 3110947 w 3115399"/>
              <a:gd name="connsiteY2" fmla="*/ 1169667 h 2595693"/>
              <a:gd name="connsiteX3" fmla="*/ 1947741 w 3115399"/>
              <a:gd name="connsiteY3" fmla="*/ 2412816 h 2595693"/>
              <a:gd name="connsiteX4" fmla="*/ 832431 w 3115399"/>
              <a:gd name="connsiteY4" fmla="*/ 2347499 h 2595693"/>
              <a:gd name="connsiteX5" fmla="*/ 214124 w 3115399"/>
              <a:gd name="connsiteY5" fmla="*/ 2595693 h 2595693"/>
              <a:gd name="connsiteX6" fmla="*/ 392285 w 3115399"/>
              <a:gd name="connsiteY6" fmla="*/ 2049051 h 2595693"/>
              <a:gd name="connsiteX7" fmla="*/ 35596 w 3115399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57831 w 3110970"/>
              <a:gd name="connsiteY4" fmla="*/ 2336387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57831 w 3110970"/>
              <a:gd name="connsiteY4" fmla="*/ 2336387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609980"/>
              <a:gd name="connsiteX1" fmla="*/ 1506371 w 3110970"/>
              <a:gd name="connsiteY1" fmla="*/ 131 h 2609980"/>
              <a:gd name="connsiteX2" fmla="*/ 3110947 w 3110970"/>
              <a:gd name="connsiteY2" fmla="*/ 1169667 h 2609980"/>
              <a:gd name="connsiteX3" fmla="*/ 1947741 w 3110970"/>
              <a:gd name="connsiteY3" fmla="*/ 2412816 h 2609980"/>
              <a:gd name="connsiteX4" fmla="*/ 857831 w 3110970"/>
              <a:gd name="connsiteY4" fmla="*/ 2336387 h 2609980"/>
              <a:gd name="connsiteX5" fmla="*/ 244287 w 3110970"/>
              <a:gd name="connsiteY5" fmla="*/ 2609980 h 2609980"/>
              <a:gd name="connsiteX6" fmla="*/ 392285 w 3110970"/>
              <a:gd name="connsiteY6" fmla="*/ 2049051 h 2609980"/>
              <a:gd name="connsiteX7" fmla="*/ 35596 w 3110970"/>
              <a:gd name="connsiteY7" fmla="*/ 938890 h 2609980"/>
              <a:gd name="connsiteX0" fmla="*/ 35596 w 3110951"/>
              <a:gd name="connsiteY0" fmla="*/ 938876 h 2609966"/>
              <a:gd name="connsiteX1" fmla="*/ 1506371 w 3110951"/>
              <a:gd name="connsiteY1" fmla="*/ 117 h 2609966"/>
              <a:gd name="connsiteX2" fmla="*/ 3110947 w 3110951"/>
              <a:gd name="connsiteY2" fmla="*/ 1169653 h 2609966"/>
              <a:gd name="connsiteX3" fmla="*/ 1947741 w 3110951"/>
              <a:gd name="connsiteY3" fmla="*/ 2412802 h 2609966"/>
              <a:gd name="connsiteX4" fmla="*/ 857831 w 3110951"/>
              <a:gd name="connsiteY4" fmla="*/ 2336373 h 2609966"/>
              <a:gd name="connsiteX5" fmla="*/ 244287 w 3110951"/>
              <a:gd name="connsiteY5" fmla="*/ 2609966 h 2609966"/>
              <a:gd name="connsiteX6" fmla="*/ 392285 w 3110951"/>
              <a:gd name="connsiteY6" fmla="*/ 2049037 h 2609966"/>
              <a:gd name="connsiteX7" fmla="*/ 35596 w 3110951"/>
              <a:gd name="connsiteY7" fmla="*/ 938876 h 2609966"/>
              <a:gd name="connsiteX0" fmla="*/ 35596 w 3110951"/>
              <a:gd name="connsiteY0" fmla="*/ 938893 h 2609983"/>
              <a:gd name="connsiteX1" fmla="*/ 1506371 w 3110951"/>
              <a:gd name="connsiteY1" fmla="*/ 134 h 2609983"/>
              <a:gd name="connsiteX2" fmla="*/ 3110947 w 3110951"/>
              <a:gd name="connsiteY2" fmla="*/ 1169670 h 2609983"/>
              <a:gd name="connsiteX3" fmla="*/ 1947741 w 3110951"/>
              <a:gd name="connsiteY3" fmla="*/ 2412819 h 2609983"/>
              <a:gd name="connsiteX4" fmla="*/ 857831 w 3110951"/>
              <a:gd name="connsiteY4" fmla="*/ 2336390 h 2609983"/>
              <a:gd name="connsiteX5" fmla="*/ 244287 w 3110951"/>
              <a:gd name="connsiteY5" fmla="*/ 2609983 h 2609983"/>
              <a:gd name="connsiteX6" fmla="*/ 392285 w 3110951"/>
              <a:gd name="connsiteY6" fmla="*/ 2049054 h 2609983"/>
              <a:gd name="connsiteX7" fmla="*/ 35596 w 3110951"/>
              <a:gd name="connsiteY7" fmla="*/ 938893 h 2609983"/>
              <a:gd name="connsiteX0" fmla="*/ 35596 w 3110951"/>
              <a:gd name="connsiteY0" fmla="*/ 938886 h 2609976"/>
              <a:gd name="connsiteX1" fmla="*/ 1506371 w 3110951"/>
              <a:gd name="connsiteY1" fmla="*/ 127 h 2609976"/>
              <a:gd name="connsiteX2" fmla="*/ 3110947 w 3110951"/>
              <a:gd name="connsiteY2" fmla="*/ 1169663 h 2609976"/>
              <a:gd name="connsiteX3" fmla="*/ 1947741 w 3110951"/>
              <a:gd name="connsiteY3" fmla="*/ 2412812 h 2609976"/>
              <a:gd name="connsiteX4" fmla="*/ 857831 w 3110951"/>
              <a:gd name="connsiteY4" fmla="*/ 2336383 h 2609976"/>
              <a:gd name="connsiteX5" fmla="*/ 244287 w 3110951"/>
              <a:gd name="connsiteY5" fmla="*/ 2609976 h 2609976"/>
              <a:gd name="connsiteX6" fmla="*/ 392285 w 3110951"/>
              <a:gd name="connsiteY6" fmla="*/ 2049047 h 2609976"/>
              <a:gd name="connsiteX7" fmla="*/ 35596 w 3110951"/>
              <a:gd name="connsiteY7" fmla="*/ 938886 h 2609976"/>
              <a:gd name="connsiteX0" fmla="*/ 35596 w 3110951"/>
              <a:gd name="connsiteY0" fmla="*/ 938886 h 2609976"/>
              <a:gd name="connsiteX1" fmla="*/ 1506371 w 3110951"/>
              <a:gd name="connsiteY1" fmla="*/ 127 h 2609976"/>
              <a:gd name="connsiteX2" fmla="*/ 3110947 w 3110951"/>
              <a:gd name="connsiteY2" fmla="*/ 1169663 h 2609976"/>
              <a:gd name="connsiteX3" fmla="*/ 1947741 w 3110951"/>
              <a:gd name="connsiteY3" fmla="*/ 2412812 h 2609976"/>
              <a:gd name="connsiteX4" fmla="*/ 857831 w 3110951"/>
              <a:gd name="connsiteY4" fmla="*/ 2336383 h 2609976"/>
              <a:gd name="connsiteX5" fmla="*/ 244287 w 3110951"/>
              <a:gd name="connsiteY5" fmla="*/ 2609976 h 2609976"/>
              <a:gd name="connsiteX6" fmla="*/ 392285 w 3110951"/>
              <a:gd name="connsiteY6" fmla="*/ 2049047 h 2609976"/>
              <a:gd name="connsiteX7" fmla="*/ 35596 w 3110951"/>
              <a:gd name="connsiteY7" fmla="*/ 938886 h 2609976"/>
              <a:gd name="connsiteX0" fmla="*/ 35596 w 3110951"/>
              <a:gd name="connsiteY0" fmla="*/ 938886 h 2609976"/>
              <a:gd name="connsiteX1" fmla="*/ 1506371 w 3110951"/>
              <a:gd name="connsiteY1" fmla="*/ 127 h 2609976"/>
              <a:gd name="connsiteX2" fmla="*/ 3110947 w 3110951"/>
              <a:gd name="connsiteY2" fmla="*/ 1169663 h 2609976"/>
              <a:gd name="connsiteX3" fmla="*/ 1947741 w 3110951"/>
              <a:gd name="connsiteY3" fmla="*/ 2412812 h 2609976"/>
              <a:gd name="connsiteX4" fmla="*/ 857831 w 3110951"/>
              <a:gd name="connsiteY4" fmla="*/ 2336383 h 2609976"/>
              <a:gd name="connsiteX5" fmla="*/ 244287 w 3110951"/>
              <a:gd name="connsiteY5" fmla="*/ 2609976 h 2609976"/>
              <a:gd name="connsiteX6" fmla="*/ 392285 w 3110951"/>
              <a:gd name="connsiteY6" fmla="*/ 2049047 h 2609976"/>
              <a:gd name="connsiteX7" fmla="*/ 35596 w 3110951"/>
              <a:gd name="connsiteY7" fmla="*/ 938886 h 2609976"/>
              <a:gd name="connsiteX0" fmla="*/ 87363 w 3162718"/>
              <a:gd name="connsiteY0" fmla="*/ 938886 h 2609976"/>
              <a:gd name="connsiteX1" fmla="*/ 1558138 w 3162718"/>
              <a:gd name="connsiteY1" fmla="*/ 127 h 2609976"/>
              <a:gd name="connsiteX2" fmla="*/ 3162714 w 3162718"/>
              <a:gd name="connsiteY2" fmla="*/ 1169663 h 2609976"/>
              <a:gd name="connsiteX3" fmla="*/ 1999508 w 3162718"/>
              <a:gd name="connsiteY3" fmla="*/ 2412812 h 2609976"/>
              <a:gd name="connsiteX4" fmla="*/ 909598 w 3162718"/>
              <a:gd name="connsiteY4" fmla="*/ 2336383 h 2609976"/>
              <a:gd name="connsiteX5" fmla="*/ 296054 w 3162718"/>
              <a:gd name="connsiteY5" fmla="*/ 2609976 h 2609976"/>
              <a:gd name="connsiteX6" fmla="*/ 444052 w 3162718"/>
              <a:gd name="connsiteY6" fmla="*/ 2049047 h 2609976"/>
              <a:gd name="connsiteX7" fmla="*/ 198961 w 3162718"/>
              <a:gd name="connsiteY7" fmla="*/ 1761996 h 2609976"/>
              <a:gd name="connsiteX8" fmla="*/ 87363 w 3162718"/>
              <a:gd name="connsiteY8" fmla="*/ 938886 h 2609976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0 w 3393714"/>
              <a:gd name="connsiteY5" fmla="*/ 2305188 h 2446912"/>
              <a:gd name="connsiteX6" fmla="*/ 675048 w 3393714"/>
              <a:gd name="connsiteY6" fmla="*/ 2049047 h 2446912"/>
              <a:gd name="connsiteX7" fmla="*/ 429957 w 3393714"/>
              <a:gd name="connsiteY7" fmla="*/ 1761996 h 2446912"/>
              <a:gd name="connsiteX8" fmla="*/ 318359 w 3393714"/>
              <a:gd name="connsiteY8" fmla="*/ 938886 h 2446912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0 w 3393714"/>
              <a:gd name="connsiteY5" fmla="*/ 2305188 h 2446912"/>
              <a:gd name="connsiteX6" fmla="*/ 429957 w 3393714"/>
              <a:gd name="connsiteY6" fmla="*/ 1761996 h 2446912"/>
              <a:gd name="connsiteX7" fmla="*/ 318359 w 3393714"/>
              <a:gd name="connsiteY7" fmla="*/ 938886 h 2446912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760157 w 3393714"/>
              <a:gd name="connsiteY5" fmla="*/ 2326656 h 2446912"/>
              <a:gd name="connsiteX6" fmla="*/ 0 w 3393714"/>
              <a:gd name="connsiteY6" fmla="*/ 2305188 h 2446912"/>
              <a:gd name="connsiteX7" fmla="*/ 429957 w 3393714"/>
              <a:gd name="connsiteY7" fmla="*/ 1761996 h 2446912"/>
              <a:gd name="connsiteX8" fmla="*/ 318359 w 3393714"/>
              <a:gd name="connsiteY8" fmla="*/ 938886 h 2446912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788732 w 3393714"/>
              <a:gd name="connsiteY5" fmla="*/ 2146992 h 2446912"/>
              <a:gd name="connsiteX6" fmla="*/ 0 w 3393714"/>
              <a:gd name="connsiteY6" fmla="*/ 2305188 h 2446912"/>
              <a:gd name="connsiteX7" fmla="*/ 429957 w 3393714"/>
              <a:gd name="connsiteY7" fmla="*/ 1761996 h 2446912"/>
              <a:gd name="connsiteX8" fmla="*/ 318359 w 3393714"/>
              <a:gd name="connsiteY8" fmla="*/ 938886 h 2446912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788732 w 3393714"/>
              <a:gd name="connsiteY5" fmla="*/ 2146992 h 2446912"/>
              <a:gd name="connsiteX6" fmla="*/ 0 w 3393714"/>
              <a:gd name="connsiteY6" fmla="*/ 2305188 h 2446912"/>
              <a:gd name="connsiteX7" fmla="*/ 429957 w 3393714"/>
              <a:gd name="connsiteY7" fmla="*/ 1761996 h 2446912"/>
              <a:gd name="connsiteX8" fmla="*/ 318359 w 3393714"/>
              <a:gd name="connsiteY8" fmla="*/ 938886 h 2446912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788732 w 3393714"/>
              <a:gd name="connsiteY5" fmla="*/ 2146992 h 2446912"/>
              <a:gd name="connsiteX6" fmla="*/ 0 w 3393714"/>
              <a:gd name="connsiteY6" fmla="*/ 2305188 h 2446912"/>
              <a:gd name="connsiteX7" fmla="*/ 429957 w 3393714"/>
              <a:gd name="connsiteY7" fmla="*/ 1761996 h 2446912"/>
              <a:gd name="connsiteX8" fmla="*/ 318359 w 3393714"/>
              <a:gd name="connsiteY8" fmla="*/ 938886 h 2446912"/>
              <a:gd name="connsiteX0" fmla="*/ 318359 w 3393714"/>
              <a:gd name="connsiteY0" fmla="*/ 938886 h 2444833"/>
              <a:gd name="connsiteX1" fmla="*/ 1789134 w 3393714"/>
              <a:gd name="connsiteY1" fmla="*/ 127 h 2444833"/>
              <a:gd name="connsiteX2" fmla="*/ 3393710 w 3393714"/>
              <a:gd name="connsiteY2" fmla="*/ 1169663 h 2444833"/>
              <a:gd name="connsiteX3" fmla="*/ 2230504 w 3393714"/>
              <a:gd name="connsiteY3" fmla="*/ 2412812 h 2444833"/>
              <a:gd name="connsiteX4" fmla="*/ 1140594 w 3393714"/>
              <a:gd name="connsiteY4" fmla="*/ 2336383 h 2444833"/>
              <a:gd name="connsiteX5" fmla="*/ 788732 w 3393714"/>
              <a:gd name="connsiteY5" fmla="*/ 2146992 h 2444833"/>
              <a:gd name="connsiteX6" fmla="*/ 0 w 3393714"/>
              <a:gd name="connsiteY6" fmla="*/ 2305188 h 2444833"/>
              <a:gd name="connsiteX7" fmla="*/ 429957 w 3393714"/>
              <a:gd name="connsiteY7" fmla="*/ 1761996 h 2444833"/>
              <a:gd name="connsiteX8" fmla="*/ 318359 w 3393714"/>
              <a:gd name="connsiteY8" fmla="*/ 938886 h 2444833"/>
              <a:gd name="connsiteX0" fmla="*/ 318359 w 3393714"/>
              <a:gd name="connsiteY0" fmla="*/ 938886 h 2444833"/>
              <a:gd name="connsiteX1" fmla="*/ 1789134 w 3393714"/>
              <a:gd name="connsiteY1" fmla="*/ 127 h 2444833"/>
              <a:gd name="connsiteX2" fmla="*/ 3393710 w 3393714"/>
              <a:gd name="connsiteY2" fmla="*/ 1169663 h 2444833"/>
              <a:gd name="connsiteX3" fmla="*/ 2230504 w 3393714"/>
              <a:gd name="connsiteY3" fmla="*/ 2412812 h 2444833"/>
              <a:gd name="connsiteX4" fmla="*/ 1140594 w 3393714"/>
              <a:gd name="connsiteY4" fmla="*/ 2336383 h 2444833"/>
              <a:gd name="connsiteX5" fmla="*/ 788732 w 3393714"/>
              <a:gd name="connsiteY5" fmla="*/ 2146992 h 2444833"/>
              <a:gd name="connsiteX6" fmla="*/ 0 w 3393714"/>
              <a:gd name="connsiteY6" fmla="*/ 2305188 h 2444833"/>
              <a:gd name="connsiteX7" fmla="*/ 429957 w 3393714"/>
              <a:gd name="connsiteY7" fmla="*/ 1761996 h 2444833"/>
              <a:gd name="connsiteX8" fmla="*/ 318359 w 3393714"/>
              <a:gd name="connsiteY8" fmla="*/ 938886 h 2444833"/>
              <a:gd name="connsiteX0" fmla="*/ 318359 w 3393714"/>
              <a:gd name="connsiteY0" fmla="*/ 938886 h 2444833"/>
              <a:gd name="connsiteX1" fmla="*/ 1789134 w 3393714"/>
              <a:gd name="connsiteY1" fmla="*/ 127 h 2444833"/>
              <a:gd name="connsiteX2" fmla="*/ 3393710 w 3393714"/>
              <a:gd name="connsiteY2" fmla="*/ 1169663 h 2444833"/>
              <a:gd name="connsiteX3" fmla="*/ 2230504 w 3393714"/>
              <a:gd name="connsiteY3" fmla="*/ 2412812 h 2444833"/>
              <a:gd name="connsiteX4" fmla="*/ 1140594 w 3393714"/>
              <a:gd name="connsiteY4" fmla="*/ 2336383 h 2444833"/>
              <a:gd name="connsiteX5" fmla="*/ 788732 w 3393714"/>
              <a:gd name="connsiteY5" fmla="*/ 2146992 h 2444833"/>
              <a:gd name="connsiteX6" fmla="*/ 0 w 3393714"/>
              <a:gd name="connsiteY6" fmla="*/ 2305188 h 2444833"/>
              <a:gd name="connsiteX7" fmla="*/ 429957 w 3393714"/>
              <a:gd name="connsiteY7" fmla="*/ 1761996 h 2444833"/>
              <a:gd name="connsiteX8" fmla="*/ 318359 w 3393714"/>
              <a:gd name="connsiteY8" fmla="*/ 938886 h 2444833"/>
              <a:gd name="connsiteX0" fmla="*/ 318359 w 3393714"/>
              <a:gd name="connsiteY0" fmla="*/ 938872 h 2444819"/>
              <a:gd name="connsiteX1" fmla="*/ 1789134 w 3393714"/>
              <a:gd name="connsiteY1" fmla="*/ 113 h 2444819"/>
              <a:gd name="connsiteX2" fmla="*/ 3393710 w 3393714"/>
              <a:gd name="connsiteY2" fmla="*/ 1169649 h 2444819"/>
              <a:gd name="connsiteX3" fmla="*/ 2230504 w 3393714"/>
              <a:gd name="connsiteY3" fmla="*/ 2412798 h 2444819"/>
              <a:gd name="connsiteX4" fmla="*/ 1140594 w 3393714"/>
              <a:gd name="connsiteY4" fmla="*/ 2336369 h 2444819"/>
              <a:gd name="connsiteX5" fmla="*/ 788732 w 3393714"/>
              <a:gd name="connsiteY5" fmla="*/ 2146978 h 2444819"/>
              <a:gd name="connsiteX6" fmla="*/ 0 w 3393714"/>
              <a:gd name="connsiteY6" fmla="*/ 2305174 h 2444819"/>
              <a:gd name="connsiteX7" fmla="*/ 429957 w 3393714"/>
              <a:gd name="connsiteY7" fmla="*/ 1761982 h 2444819"/>
              <a:gd name="connsiteX8" fmla="*/ 318359 w 3393714"/>
              <a:gd name="connsiteY8" fmla="*/ 938872 h 2444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93714" h="2444819">
                <a:moveTo>
                  <a:pt x="318359" y="938872"/>
                </a:moveTo>
                <a:cubicBezTo>
                  <a:pt x="495309" y="375401"/>
                  <a:pt x="1167039" y="10863"/>
                  <a:pt x="1789134" y="113"/>
                </a:cubicBezTo>
                <a:cubicBezTo>
                  <a:pt x="2325504" y="-7462"/>
                  <a:pt x="3380473" y="366331"/>
                  <a:pt x="3393710" y="1169649"/>
                </a:cubicBezTo>
                <a:cubicBezTo>
                  <a:pt x="3395835" y="2044838"/>
                  <a:pt x="2626132" y="2319681"/>
                  <a:pt x="2230504" y="2412798"/>
                </a:cubicBezTo>
                <a:cubicBezTo>
                  <a:pt x="1850751" y="2499565"/>
                  <a:pt x="1300353" y="2388125"/>
                  <a:pt x="1140594" y="2336369"/>
                </a:cubicBezTo>
                <a:cubicBezTo>
                  <a:pt x="1016957" y="2298905"/>
                  <a:pt x="896494" y="2248607"/>
                  <a:pt x="788732" y="2146978"/>
                </a:cubicBezTo>
                <a:lnTo>
                  <a:pt x="0" y="2305174"/>
                </a:lnTo>
                <a:lnTo>
                  <a:pt x="429957" y="1761982"/>
                </a:lnTo>
                <a:cubicBezTo>
                  <a:pt x="351459" y="1596205"/>
                  <a:pt x="202954" y="1357641"/>
                  <a:pt x="318359" y="938872"/>
                </a:cubicBezTo>
                <a:close/>
              </a:path>
            </a:pathLst>
          </a:custGeom>
          <a:solidFill>
            <a:srgbClr val="E4F1DD">
              <a:alpha val="69804"/>
            </a:srgbClr>
          </a:solidFill>
          <a:ln w="1270">
            <a:noFill/>
          </a:ln>
        </p:spPr>
        <p:txBody>
          <a:bodyPr lIns="792000" rIns="180000" anchor="ctr" anchorCtr="0"/>
          <a:lstStyle>
            <a:lvl1pPr marL="0" indent="0" algn="l">
              <a:buNone/>
              <a:defRPr sz="1800">
                <a:solidFill>
                  <a:srgbClr val="32A2B8"/>
                </a:solidFill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719" y="644233"/>
            <a:ext cx="5245011" cy="782343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3" y="1800000"/>
            <a:ext cx="5234727" cy="4190400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375E1E1D-6476-B24E-9439-E0B9B3C87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8A9ECB3-DC18-4F4D-B19C-A2E17A68551D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89A5C30F-57A2-444C-8A8A-38E4D9DFB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A0056F-9BF4-9B46-96DF-6388F205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Sisällön paikkamerkki 4">
            <a:extLst>
              <a:ext uri="{FF2B5EF4-FFF2-40B4-BE49-F238E27FC236}">
                <a16:creationId xmlns:a16="http://schemas.microsoft.com/office/drawing/2014/main" id="{B4558E0B-6D8D-DF33-7626-899890DAABA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723443" y="3590302"/>
            <a:ext cx="3622314" cy="2425911"/>
          </a:xfrm>
          <a:custGeom>
            <a:avLst/>
            <a:gdLst>
              <a:gd name="connsiteX0" fmla="*/ 0 w 3092768"/>
              <a:gd name="connsiteY0" fmla="*/ 1234441 h 2468881"/>
              <a:gd name="connsiteX1" fmla="*/ 1546384 w 3092768"/>
              <a:gd name="connsiteY1" fmla="*/ 0 h 2468881"/>
              <a:gd name="connsiteX2" fmla="*/ 3092768 w 3092768"/>
              <a:gd name="connsiteY2" fmla="*/ 1234441 h 2468881"/>
              <a:gd name="connsiteX3" fmla="*/ 1546384 w 3092768"/>
              <a:gd name="connsiteY3" fmla="*/ 2468882 h 2468881"/>
              <a:gd name="connsiteX4" fmla="*/ 0 w 3092768"/>
              <a:gd name="connsiteY4" fmla="*/ 1234441 h 2468881"/>
              <a:gd name="connsiteX0" fmla="*/ 54216 w 3146984"/>
              <a:gd name="connsiteY0" fmla="*/ 1234441 h 2501200"/>
              <a:gd name="connsiteX1" fmla="*/ 1600600 w 3146984"/>
              <a:gd name="connsiteY1" fmla="*/ 0 h 2501200"/>
              <a:gd name="connsiteX2" fmla="*/ 3146984 w 3146984"/>
              <a:gd name="connsiteY2" fmla="*/ 1234441 h 2501200"/>
              <a:gd name="connsiteX3" fmla="*/ 1600600 w 3146984"/>
              <a:gd name="connsiteY3" fmla="*/ 2468882 h 2501200"/>
              <a:gd name="connsiteX4" fmla="*/ 467873 w 3146984"/>
              <a:gd name="connsiteY4" fmla="*/ 2063932 h 2501200"/>
              <a:gd name="connsiteX5" fmla="*/ 54216 w 3146984"/>
              <a:gd name="connsiteY5" fmla="*/ 1234441 h 2501200"/>
              <a:gd name="connsiteX0" fmla="*/ 54216 w 3146984"/>
              <a:gd name="connsiteY0" fmla="*/ 1234441 h 2543507"/>
              <a:gd name="connsiteX1" fmla="*/ 1600600 w 3146984"/>
              <a:gd name="connsiteY1" fmla="*/ 0 h 2543507"/>
              <a:gd name="connsiteX2" fmla="*/ 3146984 w 3146984"/>
              <a:gd name="connsiteY2" fmla="*/ 1234441 h 2543507"/>
              <a:gd name="connsiteX3" fmla="*/ 1600600 w 3146984"/>
              <a:gd name="connsiteY3" fmla="*/ 2468882 h 2543507"/>
              <a:gd name="connsiteX4" fmla="*/ 912010 w 3146984"/>
              <a:gd name="connsiteY4" fmla="*/ 2368731 h 2543507"/>
              <a:gd name="connsiteX5" fmla="*/ 467873 w 3146984"/>
              <a:gd name="connsiteY5" fmla="*/ 2063932 h 2543507"/>
              <a:gd name="connsiteX6" fmla="*/ 54216 w 3146984"/>
              <a:gd name="connsiteY6" fmla="*/ 1234441 h 2543507"/>
              <a:gd name="connsiteX0" fmla="*/ 54216 w 3146984"/>
              <a:gd name="connsiteY0" fmla="*/ 1234441 h 2538781"/>
              <a:gd name="connsiteX1" fmla="*/ 1600600 w 3146984"/>
              <a:gd name="connsiteY1" fmla="*/ 0 h 2538781"/>
              <a:gd name="connsiteX2" fmla="*/ 3146984 w 3146984"/>
              <a:gd name="connsiteY2" fmla="*/ 1234441 h 2538781"/>
              <a:gd name="connsiteX3" fmla="*/ 1600600 w 3146984"/>
              <a:gd name="connsiteY3" fmla="*/ 2468882 h 2538781"/>
              <a:gd name="connsiteX4" fmla="*/ 912010 w 3146984"/>
              <a:gd name="connsiteY4" fmla="*/ 2368731 h 2538781"/>
              <a:gd name="connsiteX5" fmla="*/ 642045 w 3146984"/>
              <a:gd name="connsiteY5" fmla="*/ 2233748 h 2538781"/>
              <a:gd name="connsiteX6" fmla="*/ 467873 w 3146984"/>
              <a:gd name="connsiteY6" fmla="*/ 2063932 h 2538781"/>
              <a:gd name="connsiteX7" fmla="*/ 54216 w 3146984"/>
              <a:gd name="connsiteY7" fmla="*/ 1234441 h 2538781"/>
              <a:gd name="connsiteX0" fmla="*/ 54216 w 3146984"/>
              <a:gd name="connsiteY0" fmla="*/ 1234441 h 2609265"/>
              <a:gd name="connsiteX1" fmla="*/ 1600600 w 3146984"/>
              <a:gd name="connsiteY1" fmla="*/ 0 h 2609265"/>
              <a:gd name="connsiteX2" fmla="*/ 3146984 w 3146984"/>
              <a:gd name="connsiteY2" fmla="*/ 1234441 h 2609265"/>
              <a:gd name="connsiteX3" fmla="*/ 1600600 w 3146984"/>
              <a:gd name="connsiteY3" fmla="*/ 2468882 h 2609265"/>
              <a:gd name="connsiteX4" fmla="*/ 912010 w 3146984"/>
              <a:gd name="connsiteY4" fmla="*/ 2368731 h 2609265"/>
              <a:gd name="connsiteX5" fmla="*/ 311120 w 3146984"/>
              <a:gd name="connsiteY5" fmla="*/ 2603862 h 2609265"/>
              <a:gd name="connsiteX6" fmla="*/ 467873 w 3146984"/>
              <a:gd name="connsiteY6" fmla="*/ 2063932 h 2609265"/>
              <a:gd name="connsiteX7" fmla="*/ 54216 w 3146984"/>
              <a:gd name="connsiteY7" fmla="*/ 1234441 h 2609265"/>
              <a:gd name="connsiteX0" fmla="*/ 54216 w 3146984"/>
              <a:gd name="connsiteY0" fmla="*/ 1234441 h 2609265"/>
              <a:gd name="connsiteX1" fmla="*/ 1600600 w 3146984"/>
              <a:gd name="connsiteY1" fmla="*/ 0 h 2609265"/>
              <a:gd name="connsiteX2" fmla="*/ 3146984 w 3146984"/>
              <a:gd name="connsiteY2" fmla="*/ 1234441 h 2609265"/>
              <a:gd name="connsiteX3" fmla="*/ 1600600 w 3146984"/>
              <a:gd name="connsiteY3" fmla="*/ 2468882 h 2609265"/>
              <a:gd name="connsiteX4" fmla="*/ 912010 w 3146984"/>
              <a:gd name="connsiteY4" fmla="*/ 2368731 h 2609265"/>
              <a:gd name="connsiteX5" fmla="*/ 311120 w 3146984"/>
              <a:gd name="connsiteY5" fmla="*/ 2603862 h 2609265"/>
              <a:gd name="connsiteX6" fmla="*/ 467873 w 3146984"/>
              <a:gd name="connsiteY6" fmla="*/ 2063932 h 2609265"/>
              <a:gd name="connsiteX7" fmla="*/ 54216 w 3146984"/>
              <a:gd name="connsiteY7" fmla="*/ 1234441 h 2609265"/>
              <a:gd name="connsiteX0" fmla="*/ 54216 w 3146984"/>
              <a:gd name="connsiteY0" fmla="*/ 1234441 h 2603862"/>
              <a:gd name="connsiteX1" fmla="*/ 1600600 w 3146984"/>
              <a:gd name="connsiteY1" fmla="*/ 0 h 2603862"/>
              <a:gd name="connsiteX2" fmla="*/ 3146984 w 3146984"/>
              <a:gd name="connsiteY2" fmla="*/ 1234441 h 2603862"/>
              <a:gd name="connsiteX3" fmla="*/ 1600600 w 3146984"/>
              <a:gd name="connsiteY3" fmla="*/ 2468882 h 2603862"/>
              <a:gd name="connsiteX4" fmla="*/ 912010 w 3146984"/>
              <a:gd name="connsiteY4" fmla="*/ 2368731 h 2603862"/>
              <a:gd name="connsiteX5" fmla="*/ 311120 w 3146984"/>
              <a:gd name="connsiteY5" fmla="*/ 2603862 h 2603862"/>
              <a:gd name="connsiteX6" fmla="*/ 467873 w 3146984"/>
              <a:gd name="connsiteY6" fmla="*/ 2063932 h 2603862"/>
              <a:gd name="connsiteX7" fmla="*/ 54216 w 3146984"/>
              <a:gd name="connsiteY7" fmla="*/ 1234441 h 2603862"/>
              <a:gd name="connsiteX0" fmla="*/ 420 w 3093188"/>
              <a:gd name="connsiteY0" fmla="*/ 1234441 h 2603862"/>
              <a:gd name="connsiteX1" fmla="*/ 1546804 w 3093188"/>
              <a:gd name="connsiteY1" fmla="*/ 0 h 2603862"/>
              <a:gd name="connsiteX2" fmla="*/ 3093188 w 3093188"/>
              <a:gd name="connsiteY2" fmla="*/ 1234441 h 2603862"/>
              <a:gd name="connsiteX3" fmla="*/ 1546804 w 3093188"/>
              <a:gd name="connsiteY3" fmla="*/ 2468882 h 2603862"/>
              <a:gd name="connsiteX4" fmla="*/ 858214 w 3093188"/>
              <a:gd name="connsiteY4" fmla="*/ 2368731 h 2603862"/>
              <a:gd name="connsiteX5" fmla="*/ 257324 w 3093188"/>
              <a:gd name="connsiteY5" fmla="*/ 2603862 h 2603862"/>
              <a:gd name="connsiteX6" fmla="*/ 414077 w 3093188"/>
              <a:gd name="connsiteY6" fmla="*/ 2063932 h 2603862"/>
              <a:gd name="connsiteX7" fmla="*/ 420 w 3093188"/>
              <a:gd name="connsiteY7" fmla="*/ 1234441 h 2603862"/>
              <a:gd name="connsiteX0" fmla="*/ 288 w 3093056"/>
              <a:gd name="connsiteY0" fmla="*/ 1113011 h 2604352"/>
              <a:gd name="connsiteX1" fmla="*/ 1546672 w 3093056"/>
              <a:gd name="connsiteY1" fmla="*/ 490 h 2604352"/>
              <a:gd name="connsiteX2" fmla="*/ 3093056 w 3093056"/>
              <a:gd name="connsiteY2" fmla="*/ 1234931 h 2604352"/>
              <a:gd name="connsiteX3" fmla="*/ 1546672 w 3093056"/>
              <a:gd name="connsiteY3" fmla="*/ 2469372 h 2604352"/>
              <a:gd name="connsiteX4" fmla="*/ 858082 w 3093056"/>
              <a:gd name="connsiteY4" fmla="*/ 2369221 h 2604352"/>
              <a:gd name="connsiteX5" fmla="*/ 257192 w 3093056"/>
              <a:gd name="connsiteY5" fmla="*/ 2604352 h 2604352"/>
              <a:gd name="connsiteX6" fmla="*/ 413945 w 3093056"/>
              <a:gd name="connsiteY6" fmla="*/ 2064422 h 2604352"/>
              <a:gd name="connsiteX7" fmla="*/ 288 w 3093056"/>
              <a:gd name="connsiteY7" fmla="*/ 1113011 h 2604352"/>
              <a:gd name="connsiteX0" fmla="*/ 449 w 3093217"/>
              <a:gd name="connsiteY0" fmla="*/ 1113063 h 2604404"/>
              <a:gd name="connsiteX1" fmla="*/ 1546833 w 3093217"/>
              <a:gd name="connsiteY1" fmla="*/ 542 h 2604404"/>
              <a:gd name="connsiteX2" fmla="*/ 3093217 w 3093217"/>
              <a:gd name="connsiteY2" fmla="*/ 1234983 h 2604404"/>
              <a:gd name="connsiteX3" fmla="*/ 1546833 w 3093217"/>
              <a:gd name="connsiteY3" fmla="*/ 2469424 h 2604404"/>
              <a:gd name="connsiteX4" fmla="*/ 858243 w 3093217"/>
              <a:gd name="connsiteY4" fmla="*/ 2369273 h 2604404"/>
              <a:gd name="connsiteX5" fmla="*/ 257353 w 3093217"/>
              <a:gd name="connsiteY5" fmla="*/ 2604404 h 2604404"/>
              <a:gd name="connsiteX6" fmla="*/ 414106 w 3093217"/>
              <a:gd name="connsiteY6" fmla="*/ 2064474 h 2604404"/>
              <a:gd name="connsiteX7" fmla="*/ 449 w 3093217"/>
              <a:gd name="connsiteY7" fmla="*/ 1113063 h 2604404"/>
              <a:gd name="connsiteX0" fmla="*/ 449 w 3093217"/>
              <a:gd name="connsiteY0" fmla="*/ 1112524 h 2603865"/>
              <a:gd name="connsiteX1" fmla="*/ 1546833 w 3093217"/>
              <a:gd name="connsiteY1" fmla="*/ 3 h 2603865"/>
              <a:gd name="connsiteX2" fmla="*/ 3093217 w 3093217"/>
              <a:gd name="connsiteY2" fmla="*/ 1234444 h 2603865"/>
              <a:gd name="connsiteX3" fmla="*/ 1546833 w 3093217"/>
              <a:gd name="connsiteY3" fmla="*/ 2468885 h 2603865"/>
              <a:gd name="connsiteX4" fmla="*/ 858243 w 3093217"/>
              <a:gd name="connsiteY4" fmla="*/ 2368734 h 2603865"/>
              <a:gd name="connsiteX5" fmla="*/ 257353 w 3093217"/>
              <a:gd name="connsiteY5" fmla="*/ 2603865 h 2603865"/>
              <a:gd name="connsiteX6" fmla="*/ 414106 w 3093217"/>
              <a:gd name="connsiteY6" fmla="*/ 2063935 h 2603865"/>
              <a:gd name="connsiteX7" fmla="*/ 449 w 3093217"/>
              <a:gd name="connsiteY7" fmla="*/ 1112524 h 2603865"/>
              <a:gd name="connsiteX0" fmla="*/ 449 w 3123697"/>
              <a:gd name="connsiteY0" fmla="*/ 1113026 h 2604367"/>
              <a:gd name="connsiteX1" fmla="*/ 1546833 w 3123697"/>
              <a:gd name="connsiteY1" fmla="*/ 505 h 2604367"/>
              <a:gd name="connsiteX2" fmla="*/ 3123697 w 3123697"/>
              <a:gd name="connsiteY2" fmla="*/ 1230592 h 2604367"/>
              <a:gd name="connsiteX3" fmla="*/ 1546833 w 3123697"/>
              <a:gd name="connsiteY3" fmla="*/ 2469387 h 2604367"/>
              <a:gd name="connsiteX4" fmla="*/ 858243 w 3123697"/>
              <a:gd name="connsiteY4" fmla="*/ 2369236 h 2604367"/>
              <a:gd name="connsiteX5" fmla="*/ 257353 w 3123697"/>
              <a:gd name="connsiteY5" fmla="*/ 2604367 h 2604367"/>
              <a:gd name="connsiteX6" fmla="*/ 414106 w 3123697"/>
              <a:gd name="connsiteY6" fmla="*/ 2064437 h 2604367"/>
              <a:gd name="connsiteX7" fmla="*/ 449 w 3123697"/>
              <a:gd name="connsiteY7" fmla="*/ 1113026 h 2604367"/>
              <a:gd name="connsiteX0" fmla="*/ 449 w 3125777"/>
              <a:gd name="connsiteY0" fmla="*/ 1113026 h 2604367"/>
              <a:gd name="connsiteX1" fmla="*/ 1546833 w 3125777"/>
              <a:gd name="connsiteY1" fmla="*/ 505 h 2604367"/>
              <a:gd name="connsiteX2" fmla="*/ 3123697 w 3125777"/>
              <a:gd name="connsiteY2" fmla="*/ 1230592 h 2604367"/>
              <a:gd name="connsiteX3" fmla="*/ 1546833 w 3125777"/>
              <a:gd name="connsiteY3" fmla="*/ 2469387 h 2604367"/>
              <a:gd name="connsiteX4" fmla="*/ 858243 w 3125777"/>
              <a:gd name="connsiteY4" fmla="*/ 2369236 h 2604367"/>
              <a:gd name="connsiteX5" fmla="*/ 257353 w 3125777"/>
              <a:gd name="connsiteY5" fmla="*/ 2604367 h 2604367"/>
              <a:gd name="connsiteX6" fmla="*/ 414106 w 3125777"/>
              <a:gd name="connsiteY6" fmla="*/ 2064437 h 2604367"/>
              <a:gd name="connsiteX7" fmla="*/ 449 w 3125777"/>
              <a:gd name="connsiteY7" fmla="*/ 1113026 h 2604367"/>
              <a:gd name="connsiteX0" fmla="*/ 449 w 3123697"/>
              <a:gd name="connsiteY0" fmla="*/ 1113026 h 2604367"/>
              <a:gd name="connsiteX1" fmla="*/ 1546833 w 3123697"/>
              <a:gd name="connsiteY1" fmla="*/ 505 h 2604367"/>
              <a:gd name="connsiteX2" fmla="*/ 3123697 w 3123697"/>
              <a:gd name="connsiteY2" fmla="*/ 1230592 h 2604367"/>
              <a:gd name="connsiteX3" fmla="*/ 1546833 w 3123697"/>
              <a:gd name="connsiteY3" fmla="*/ 2469387 h 2604367"/>
              <a:gd name="connsiteX4" fmla="*/ 858243 w 3123697"/>
              <a:gd name="connsiteY4" fmla="*/ 2369236 h 2604367"/>
              <a:gd name="connsiteX5" fmla="*/ 257353 w 3123697"/>
              <a:gd name="connsiteY5" fmla="*/ 2604367 h 2604367"/>
              <a:gd name="connsiteX6" fmla="*/ 414106 w 3123697"/>
              <a:gd name="connsiteY6" fmla="*/ 2064437 h 2604367"/>
              <a:gd name="connsiteX7" fmla="*/ 449 w 3123697"/>
              <a:gd name="connsiteY7" fmla="*/ 1113026 h 2604367"/>
              <a:gd name="connsiteX0" fmla="*/ 449 w 3125481"/>
              <a:gd name="connsiteY0" fmla="*/ 1113026 h 2604367"/>
              <a:gd name="connsiteX1" fmla="*/ 1546833 w 3125481"/>
              <a:gd name="connsiteY1" fmla="*/ 505 h 2604367"/>
              <a:gd name="connsiteX2" fmla="*/ 3123697 w 3125481"/>
              <a:gd name="connsiteY2" fmla="*/ 1230592 h 2604367"/>
              <a:gd name="connsiteX3" fmla="*/ 1546833 w 3125481"/>
              <a:gd name="connsiteY3" fmla="*/ 2469387 h 2604367"/>
              <a:gd name="connsiteX4" fmla="*/ 858243 w 3125481"/>
              <a:gd name="connsiteY4" fmla="*/ 2369236 h 2604367"/>
              <a:gd name="connsiteX5" fmla="*/ 257353 w 3125481"/>
              <a:gd name="connsiteY5" fmla="*/ 2604367 h 2604367"/>
              <a:gd name="connsiteX6" fmla="*/ 414106 w 3125481"/>
              <a:gd name="connsiteY6" fmla="*/ 2064437 h 2604367"/>
              <a:gd name="connsiteX7" fmla="*/ 449 w 3125481"/>
              <a:gd name="connsiteY7" fmla="*/ 1113026 h 2604367"/>
              <a:gd name="connsiteX0" fmla="*/ 449 w 3125481"/>
              <a:gd name="connsiteY0" fmla="*/ 1113026 h 2604367"/>
              <a:gd name="connsiteX1" fmla="*/ 1546833 w 3125481"/>
              <a:gd name="connsiteY1" fmla="*/ 505 h 2604367"/>
              <a:gd name="connsiteX2" fmla="*/ 3123697 w 3125481"/>
              <a:gd name="connsiteY2" fmla="*/ 1230592 h 2604367"/>
              <a:gd name="connsiteX3" fmla="*/ 1546833 w 3125481"/>
              <a:gd name="connsiteY3" fmla="*/ 2469387 h 2604367"/>
              <a:gd name="connsiteX4" fmla="*/ 858243 w 3125481"/>
              <a:gd name="connsiteY4" fmla="*/ 2369236 h 2604367"/>
              <a:gd name="connsiteX5" fmla="*/ 257353 w 3125481"/>
              <a:gd name="connsiteY5" fmla="*/ 2604367 h 2604367"/>
              <a:gd name="connsiteX6" fmla="*/ 414106 w 3125481"/>
              <a:gd name="connsiteY6" fmla="*/ 2064437 h 2604367"/>
              <a:gd name="connsiteX7" fmla="*/ 449 w 3125481"/>
              <a:gd name="connsiteY7" fmla="*/ 1113026 h 2604367"/>
              <a:gd name="connsiteX0" fmla="*/ 449 w 3123778"/>
              <a:gd name="connsiteY0" fmla="*/ 1113026 h 2604367"/>
              <a:gd name="connsiteX1" fmla="*/ 1546833 w 3123778"/>
              <a:gd name="connsiteY1" fmla="*/ 505 h 2604367"/>
              <a:gd name="connsiteX2" fmla="*/ 3123697 w 3123778"/>
              <a:gd name="connsiteY2" fmla="*/ 1230592 h 2604367"/>
              <a:gd name="connsiteX3" fmla="*/ 1612147 w 3123778"/>
              <a:gd name="connsiteY3" fmla="*/ 2447616 h 2604367"/>
              <a:gd name="connsiteX4" fmla="*/ 858243 w 3123778"/>
              <a:gd name="connsiteY4" fmla="*/ 2369236 h 2604367"/>
              <a:gd name="connsiteX5" fmla="*/ 257353 w 3123778"/>
              <a:gd name="connsiteY5" fmla="*/ 2604367 h 2604367"/>
              <a:gd name="connsiteX6" fmla="*/ 414106 w 3123778"/>
              <a:gd name="connsiteY6" fmla="*/ 2064437 h 2604367"/>
              <a:gd name="connsiteX7" fmla="*/ 449 w 3123778"/>
              <a:gd name="connsiteY7" fmla="*/ 1113026 h 2604367"/>
              <a:gd name="connsiteX0" fmla="*/ 449 w 3123773"/>
              <a:gd name="connsiteY0" fmla="*/ 1113026 h 2604367"/>
              <a:gd name="connsiteX1" fmla="*/ 1546833 w 3123773"/>
              <a:gd name="connsiteY1" fmla="*/ 505 h 2604367"/>
              <a:gd name="connsiteX2" fmla="*/ 3123697 w 3123773"/>
              <a:gd name="connsiteY2" fmla="*/ 1230592 h 2604367"/>
              <a:gd name="connsiteX3" fmla="*/ 1612147 w 3123773"/>
              <a:gd name="connsiteY3" fmla="*/ 2447616 h 2604367"/>
              <a:gd name="connsiteX4" fmla="*/ 875660 w 3123773"/>
              <a:gd name="connsiteY4" fmla="*/ 2356173 h 2604367"/>
              <a:gd name="connsiteX5" fmla="*/ 257353 w 3123773"/>
              <a:gd name="connsiteY5" fmla="*/ 2604367 h 2604367"/>
              <a:gd name="connsiteX6" fmla="*/ 414106 w 3123773"/>
              <a:gd name="connsiteY6" fmla="*/ 2064437 h 2604367"/>
              <a:gd name="connsiteX7" fmla="*/ 449 w 3123773"/>
              <a:gd name="connsiteY7" fmla="*/ 1113026 h 2604367"/>
              <a:gd name="connsiteX0" fmla="*/ 449 w 3128329"/>
              <a:gd name="connsiteY0" fmla="*/ 1113026 h 2604367"/>
              <a:gd name="connsiteX1" fmla="*/ 1546833 w 3128329"/>
              <a:gd name="connsiteY1" fmla="*/ 505 h 2604367"/>
              <a:gd name="connsiteX2" fmla="*/ 3123697 w 3128329"/>
              <a:gd name="connsiteY2" fmla="*/ 1230592 h 2604367"/>
              <a:gd name="connsiteX3" fmla="*/ 1990970 w 3128329"/>
              <a:gd name="connsiteY3" fmla="*/ 2421490 h 2604367"/>
              <a:gd name="connsiteX4" fmla="*/ 875660 w 3128329"/>
              <a:gd name="connsiteY4" fmla="*/ 2356173 h 2604367"/>
              <a:gd name="connsiteX5" fmla="*/ 257353 w 3128329"/>
              <a:gd name="connsiteY5" fmla="*/ 2604367 h 2604367"/>
              <a:gd name="connsiteX6" fmla="*/ 414106 w 3128329"/>
              <a:gd name="connsiteY6" fmla="*/ 2064437 h 2604367"/>
              <a:gd name="connsiteX7" fmla="*/ 449 w 3128329"/>
              <a:gd name="connsiteY7" fmla="*/ 1113026 h 2604367"/>
              <a:gd name="connsiteX0" fmla="*/ 449 w 3128741"/>
              <a:gd name="connsiteY0" fmla="*/ 1113026 h 2604367"/>
              <a:gd name="connsiteX1" fmla="*/ 1546833 w 3128741"/>
              <a:gd name="connsiteY1" fmla="*/ 505 h 2604367"/>
              <a:gd name="connsiteX2" fmla="*/ 3123697 w 3128741"/>
              <a:gd name="connsiteY2" fmla="*/ 1230592 h 2604367"/>
              <a:gd name="connsiteX3" fmla="*/ 1990970 w 3128741"/>
              <a:gd name="connsiteY3" fmla="*/ 2421490 h 2604367"/>
              <a:gd name="connsiteX4" fmla="*/ 875660 w 3128741"/>
              <a:gd name="connsiteY4" fmla="*/ 2356173 h 2604367"/>
              <a:gd name="connsiteX5" fmla="*/ 257353 w 3128741"/>
              <a:gd name="connsiteY5" fmla="*/ 2604367 h 2604367"/>
              <a:gd name="connsiteX6" fmla="*/ 414106 w 3128741"/>
              <a:gd name="connsiteY6" fmla="*/ 2064437 h 2604367"/>
              <a:gd name="connsiteX7" fmla="*/ 449 w 3128741"/>
              <a:gd name="connsiteY7" fmla="*/ 1113026 h 2604367"/>
              <a:gd name="connsiteX0" fmla="*/ 449 w 3124188"/>
              <a:gd name="connsiteY0" fmla="*/ 1113026 h 2604367"/>
              <a:gd name="connsiteX1" fmla="*/ 1546833 w 3124188"/>
              <a:gd name="connsiteY1" fmla="*/ 505 h 2604367"/>
              <a:gd name="connsiteX2" fmla="*/ 3123697 w 3124188"/>
              <a:gd name="connsiteY2" fmla="*/ 1230592 h 2604367"/>
              <a:gd name="connsiteX3" fmla="*/ 1990970 w 3124188"/>
              <a:gd name="connsiteY3" fmla="*/ 2421490 h 2604367"/>
              <a:gd name="connsiteX4" fmla="*/ 875660 w 3124188"/>
              <a:gd name="connsiteY4" fmla="*/ 2356173 h 2604367"/>
              <a:gd name="connsiteX5" fmla="*/ 257353 w 3124188"/>
              <a:gd name="connsiteY5" fmla="*/ 2604367 h 2604367"/>
              <a:gd name="connsiteX6" fmla="*/ 414106 w 3124188"/>
              <a:gd name="connsiteY6" fmla="*/ 2064437 h 2604367"/>
              <a:gd name="connsiteX7" fmla="*/ 449 w 3124188"/>
              <a:gd name="connsiteY7" fmla="*/ 1113026 h 2604367"/>
              <a:gd name="connsiteX0" fmla="*/ 449 w 3119791"/>
              <a:gd name="connsiteY0" fmla="*/ 1112524 h 2603865"/>
              <a:gd name="connsiteX1" fmla="*/ 1546833 w 3119791"/>
              <a:gd name="connsiteY1" fmla="*/ 3 h 2603865"/>
              <a:gd name="connsiteX2" fmla="*/ 3119343 w 3119791"/>
              <a:gd name="connsiteY2" fmla="*/ 1121233 h 2603865"/>
              <a:gd name="connsiteX3" fmla="*/ 1990970 w 3119791"/>
              <a:gd name="connsiteY3" fmla="*/ 2420988 h 2603865"/>
              <a:gd name="connsiteX4" fmla="*/ 875660 w 3119791"/>
              <a:gd name="connsiteY4" fmla="*/ 2355671 h 2603865"/>
              <a:gd name="connsiteX5" fmla="*/ 257353 w 3119791"/>
              <a:gd name="connsiteY5" fmla="*/ 2603865 h 2603865"/>
              <a:gd name="connsiteX6" fmla="*/ 414106 w 3119791"/>
              <a:gd name="connsiteY6" fmla="*/ 2063935 h 2603865"/>
              <a:gd name="connsiteX7" fmla="*/ 449 w 3119791"/>
              <a:gd name="connsiteY7" fmla="*/ 1112524 h 2603865"/>
              <a:gd name="connsiteX0" fmla="*/ 449 w 3119817"/>
              <a:gd name="connsiteY0" fmla="*/ 1112524 h 2603865"/>
              <a:gd name="connsiteX1" fmla="*/ 1546833 w 3119817"/>
              <a:gd name="connsiteY1" fmla="*/ 3 h 2603865"/>
              <a:gd name="connsiteX2" fmla="*/ 3119343 w 3119817"/>
              <a:gd name="connsiteY2" fmla="*/ 1121233 h 2603865"/>
              <a:gd name="connsiteX3" fmla="*/ 1990970 w 3119817"/>
              <a:gd name="connsiteY3" fmla="*/ 2420988 h 2603865"/>
              <a:gd name="connsiteX4" fmla="*/ 875660 w 3119817"/>
              <a:gd name="connsiteY4" fmla="*/ 2355671 h 2603865"/>
              <a:gd name="connsiteX5" fmla="*/ 257353 w 3119817"/>
              <a:gd name="connsiteY5" fmla="*/ 2603865 h 2603865"/>
              <a:gd name="connsiteX6" fmla="*/ 414106 w 3119817"/>
              <a:gd name="connsiteY6" fmla="*/ 2063935 h 2603865"/>
              <a:gd name="connsiteX7" fmla="*/ 449 w 3119817"/>
              <a:gd name="connsiteY7" fmla="*/ 1112524 h 2603865"/>
              <a:gd name="connsiteX0" fmla="*/ 6 w 3119374"/>
              <a:gd name="connsiteY0" fmla="*/ 1112524 h 2603865"/>
              <a:gd name="connsiteX1" fmla="*/ 1546390 w 3119374"/>
              <a:gd name="connsiteY1" fmla="*/ 3 h 2603865"/>
              <a:gd name="connsiteX2" fmla="*/ 3118900 w 3119374"/>
              <a:gd name="connsiteY2" fmla="*/ 1121233 h 2603865"/>
              <a:gd name="connsiteX3" fmla="*/ 1990527 w 3119374"/>
              <a:gd name="connsiteY3" fmla="*/ 2420988 h 2603865"/>
              <a:gd name="connsiteX4" fmla="*/ 875217 w 3119374"/>
              <a:gd name="connsiteY4" fmla="*/ 2355671 h 2603865"/>
              <a:gd name="connsiteX5" fmla="*/ 256910 w 3119374"/>
              <a:gd name="connsiteY5" fmla="*/ 2603865 h 2603865"/>
              <a:gd name="connsiteX6" fmla="*/ 413663 w 3119374"/>
              <a:gd name="connsiteY6" fmla="*/ 2063935 h 2603865"/>
              <a:gd name="connsiteX7" fmla="*/ 6 w 3119374"/>
              <a:gd name="connsiteY7" fmla="*/ 1112524 h 2603865"/>
              <a:gd name="connsiteX0" fmla="*/ 6 w 3093249"/>
              <a:gd name="connsiteY0" fmla="*/ 969979 h 2605011"/>
              <a:gd name="connsiteX1" fmla="*/ 1520265 w 3093249"/>
              <a:gd name="connsiteY1" fmla="*/ 1149 h 2605011"/>
              <a:gd name="connsiteX2" fmla="*/ 3092775 w 3093249"/>
              <a:gd name="connsiteY2" fmla="*/ 1122379 h 2605011"/>
              <a:gd name="connsiteX3" fmla="*/ 1964402 w 3093249"/>
              <a:gd name="connsiteY3" fmla="*/ 2422134 h 2605011"/>
              <a:gd name="connsiteX4" fmla="*/ 849092 w 3093249"/>
              <a:gd name="connsiteY4" fmla="*/ 2356817 h 2605011"/>
              <a:gd name="connsiteX5" fmla="*/ 230785 w 3093249"/>
              <a:gd name="connsiteY5" fmla="*/ 2605011 h 2605011"/>
              <a:gd name="connsiteX6" fmla="*/ 387538 w 3093249"/>
              <a:gd name="connsiteY6" fmla="*/ 2065081 h 2605011"/>
              <a:gd name="connsiteX7" fmla="*/ 6 w 3093249"/>
              <a:gd name="connsiteY7" fmla="*/ 969979 h 2605011"/>
              <a:gd name="connsiteX0" fmla="*/ 15854 w 3109097"/>
              <a:gd name="connsiteY0" fmla="*/ 970040 h 2605072"/>
              <a:gd name="connsiteX1" fmla="*/ 1536113 w 3109097"/>
              <a:gd name="connsiteY1" fmla="*/ 1210 h 2605072"/>
              <a:gd name="connsiteX2" fmla="*/ 3108623 w 3109097"/>
              <a:gd name="connsiteY2" fmla="*/ 1122440 h 2605072"/>
              <a:gd name="connsiteX3" fmla="*/ 1980250 w 3109097"/>
              <a:gd name="connsiteY3" fmla="*/ 2422195 h 2605072"/>
              <a:gd name="connsiteX4" fmla="*/ 864940 w 3109097"/>
              <a:gd name="connsiteY4" fmla="*/ 2356878 h 2605072"/>
              <a:gd name="connsiteX5" fmla="*/ 246633 w 3109097"/>
              <a:gd name="connsiteY5" fmla="*/ 2605072 h 2605072"/>
              <a:gd name="connsiteX6" fmla="*/ 403386 w 3109097"/>
              <a:gd name="connsiteY6" fmla="*/ 2065142 h 2605072"/>
              <a:gd name="connsiteX7" fmla="*/ 15854 w 3109097"/>
              <a:gd name="connsiteY7" fmla="*/ 970040 h 2605072"/>
              <a:gd name="connsiteX0" fmla="*/ 15854 w 3109097"/>
              <a:gd name="connsiteY0" fmla="*/ 969376 h 2604408"/>
              <a:gd name="connsiteX1" fmla="*/ 1536113 w 3109097"/>
              <a:gd name="connsiteY1" fmla="*/ 546 h 2604408"/>
              <a:gd name="connsiteX2" fmla="*/ 3108623 w 3109097"/>
              <a:gd name="connsiteY2" fmla="*/ 1121776 h 2604408"/>
              <a:gd name="connsiteX3" fmla="*/ 1980250 w 3109097"/>
              <a:gd name="connsiteY3" fmla="*/ 2421531 h 2604408"/>
              <a:gd name="connsiteX4" fmla="*/ 864940 w 3109097"/>
              <a:gd name="connsiteY4" fmla="*/ 2356214 h 2604408"/>
              <a:gd name="connsiteX5" fmla="*/ 246633 w 3109097"/>
              <a:gd name="connsiteY5" fmla="*/ 2604408 h 2604408"/>
              <a:gd name="connsiteX6" fmla="*/ 403386 w 3109097"/>
              <a:gd name="connsiteY6" fmla="*/ 2064478 h 2604408"/>
              <a:gd name="connsiteX7" fmla="*/ 15854 w 3109097"/>
              <a:gd name="connsiteY7" fmla="*/ 969376 h 2604408"/>
              <a:gd name="connsiteX0" fmla="*/ 57359 w 3154927"/>
              <a:gd name="connsiteY0" fmla="*/ 969150 h 2604182"/>
              <a:gd name="connsiteX1" fmla="*/ 1581972 w 3154927"/>
              <a:gd name="connsiteY1" fmla="*/ 320 h 2604182"/>
              <a:gd name="connsiteX2" fmla="*/ 3150128 w 3154927"/>
              <a:gd name="connsiteY2" fmla="*/ 1121550 h 2604182"/>
              <a:gd name="connsiteX3" fmla="*/ 2021755 w 3154927"/>
              <a:gd name="connsiteY3" fmla="*/ 2421305 h 2604182"/>
              <a:gd name="connsiteX4" fmla="*/ 906445 w 3154927"/>
              <a:gd name="connsiteY4" fmla="*/ 2355988 h 2604182"/>
              <a:gd name="connsiteX5" fmla="*/ 288138 w 3154927"/>
              <a:gd name="connsiteY5" fmla="*/ 2604182 h 2604182"/>
              <a:gd name="connsiteX6" fmla="*/ 444891 w 3154927"/>
              <a:gd name="connsiteY6" fmla="*/ 2064252 h 2604182"/>
              <a:gd name="connsiteX7" fmla="*/ 57359 w 3154927"/>
              <a:gd name="connsiteY7" fmla="*/ 969150 h 2604182"/>
              <a:gd name="connsiteX0" fmla="*/ 43848 w 3141416"/>
              <a:gd name="connsiteY0" fmla="*/ 969231 h 2604263"/>
              <a:gd name="connsiteX1" fmla="*/ 1568461 w 3141416"/>
              <a:gd name="connsiteY1" fmla="*/ 401 h 2604263"/>
              <a:gd name="connsiteX2" fmla="*/ 3136617 w 3141416"/>
              <a:gd name="connsiteY2" fmla="*/ 1121631 h 2604263"/>
              <a:gd name="connsiteX3" fmla="*/ 2008244 w 3141416"/>
              <a:gd name="connsiteY3" fmla="*/ 2421386 h 2604263"/>
              <a:gd name="connsiteX4" fmla="*/ 892934 w 3141416"/>
              <a:gd name="connsiteY4" fmla="*/ 2356069 h 2604263"/>
              <a:gd name="connsiteX5" fmla="*/ 274627 w 3141416"/>
              <a:gd name="connsiteY5" fmla="*/ 2604263 h 2604263"/>
              <a:gd name="connsiteX6" fmla="*/ 431380 w 3141416"/>
              <a:gd name="connsiteY6" fmla="*/ 2064333 h 2604263"/>
              <a:gd name="connsiteX7" fmla="*/ 43848 w 3141416"/>
              <a:gd name="connsiteY7" fmla="*/ 969231 h 2604263"/>
              <a:gd name="connsiteX0" fmla="*/ 37294 w 3134862"/>
              <a:gd name="connsiteY0" fmla="*/ 969279 h 2604311"/>
              <a:gd name="connsiteX1" fmla="*/ 1561907 w 3134862"/>
              <a:gd name="connsiteY1" fmla="*/ 449 h 2604311"/>
              <a:gd name="connsiteX2" fmla="*/ 3130063 w 3134862"/>
              <a:gd name="connsiteY2" fmla="*/ 1121679 h 2604311"/>
              <a:gd name="connsiteX3" fmla="*/ 2001690 w 3134862"/>
              <a:gd name="connsiteY3" fmla="*/ 2421434 h 2604311"/>
              <a:gd name="connsiteX4" fmla="*/ 886380 w 3134862"/>
              <a:gd name="connsiteY4" fmla="*/ 2356117 h 2604311"/>
              <a:gd name="connsiteX5" fmla="*/ 268073 w 3134862"/>
              <a:gd name="connsiteY5" fmla="*/ 2604311 h 2604311"/>
              <a:gd name="connsiteX6" fmla="*/ 424826 w 3134862"/>
              <a:gd name="connsiteY6" fmla="*/ 2064381 h 2604311"/>
              <a:gd name="connsiteX7" fmla="*/ 37294 w 3134862"/>
              <a:gd name="connsiteY7" fmla="*/ 969279 h 2604311"/>
              <a:gd name="connsiteX0" fmla="*/ 37294 w 3130438"/>
              <a:gd name="connsiteY0" fmla="*/ 969279 h 2604311"/>
              <a:gd name="connsiteX1" fmla="*/ 1561907 w 3130438"/>
              <a:gd name="connsiteY1" fmla="*/ 449 h 2604311"/>
              <a:gd name="connsiteX2" fmla="*/ 3130063 w 3130438"/>
              <a:gd name="connsiteY2" fmla="*/ 1121679 h 2604311"/>
              <a:gd name="connsiteX3" fmla="*/ 2001690 w 3130438"/>
              <a:gd name="connsiteY3" fmla="*/ 2421434 h 2604311"/>
              <a:gd name="connsiteX4" fmla="*/ 886380 w 3130438"/>
              <a:gd name="connsiteY4" fmla="*/ 2356117 h 2604311"/>
              <a:gd name="connsiteX5" fmla="*/ 268073 w 3130438"/>
              <a:gd name="connsiteY5" fmla="*/ 2604311 h 2604311"/>
              <a:gd name="connsiteX6" fmla="*/ 424826 w 3130438"/>
              <a:gd name="connsiteY6" fmla="*/ 2064381 h 2604311"/>
              <a:gd name="connsiteX7" fmla="*/ 37294 w 3130438"/>
              <a:gd name="connsiteY7" fmla="*/ 969279 h 2604311"/>
              <a:gd name="connsiteX0" fmla="*/ 37294 w 3130454"/>
              <a:gd name="connsiteY0" fmla="*/ 968831 h 2603863"/>
              <a:gd name="connsiteX1" fmla="*/ 1561907 w 3130454"/>
              <a:gd name="connsiteY1" fmla="*/ 1 h 2603863"/>
              <a:gd name="connsiteX2" fmla="*/ 3130063 w 3130454"/>
              <a:gd name="connsiteY2" fmla="*/ 1121231 h 2603863"/>
              <a:gd name="connsiteX3" fmla="*/ 2001690 w 3130454"/>
              <a:gd name="connsiteY3" fmla="*/ 2420986 h 2603863"/>
              <a:gd name="connsiteX4" fmla="*/ 886380 w 3130454"/>
              <a:gd name="connsiteY4" fmla="*/ 2355669 h 2603863"/>
              <a:gd name="connsiteX5" fmla="*/ 268073 w 3130454"/>
              <a:gd name="connsiteY5" fmla="*/ 2603863 h 2603863"/>
              <a:gd name="connsiteX6" fmla="*/ 424826 w 3130454"/>
              <a:gd name="connsiteY6" fmla="*/ 2063933 h 2603863"/>
              <a:gd name="connsiteX7" fmla="*/ 37294 w 3130454"/>
              <a:gd name="connsiteY7" fmla="*/ 968831 h 2603863"/>
              <a:gd name="connsiteX0" fmla="*/ 37294 w 3139116"/>
              <a:gd name="connsiteY0" fmla="*/ 970729 h 2605761"/>
              <a:gd name="connsiteX1" fmla="*/ 1561907 w 3139116"/>
              <a:gd name="connsiteY1" fmla="*/ 1899 h 2605761"/>
              <a:gd name="connsiteX2" fmla="*/ 3138771 w 3139116"/>
              <a:gd name="connsiteY2" fmla="*/ 1184089 h 2605761"/>
              <a:gd name="connsiteX3" fmla="*/ 2001690 w 3139116"/>
              <a:gd name="connsiteY3" fmla="*/ 2422884 h 2605761"/>
              <a:gd name="connsiteX4" fmla="*/ 886380 w 3139116"/>
              <a:gd name="connsiteY4" fmla="*/ 2357567 h 2605761"/>
              <a:gd name="connsiteX5" fmla="*/ 268073 w 3139116"/>
              <a:gd name="connsiteY5" fmla="*/ 2605761 h 2605761"/>
              <a:gd name="connsiteX6" fmla="*/ 424826 w 3139116"/>
              <a:gd name="connsiteY6" fmla="*/ 2065831 h 2605761"/>
              <a:gd name="connsiteX7" fmla="*/ 37294 w 3139116"/>
              <a:gd name="connsiteY7" fmla="*/ 970729 h 2605761"/>
              <a:gd name="connsiteX0" fmla="*/ 37294 w 3138833"/>
              <a:gd name="connsiteY0" fmla="*/ 970729 h 2605761"/>
              <a:gd name="connsiteX1" fmla="*/ 1561907 w 3138833"/>
              <a:gd name="connsiteY1" fmla="*/ 1899 h 2605761"/>
              <a:gd name="connsiteX2" fmla="*/ 3138771 w 3138833"/>
              <a:gd name="connsiteY2" fmla="*/ 1184089 h 2605761"/>
              <a:gd name="connsiteX3" fmla="*/ 2001690 w 3138833"/>
              <a:gd name="connsiteY3" fmla="*/ 2422884 h 2605761"/>
              <a:gd name="connsiteX4" fmla="*/ 886380 w 3138833"/>
              <a:gd name="connsiteY4" fmla="*/ 2357567 h 2605761"/>
              <a:gd name="connsiteX5" fmla="*/ 268073 w 3138833"/>
              <a:gd name="connsiteY5" fmla="*/ 2605761 h 2605761"/>
              <a:gd name="connsiteX6" fmla="*/ 424826 w 3138833"/>
              <a:gd name="connsiteY6" fmla="*/ 2065831 h 2605761"/>
              <a:gd name="connsiteX7" fmla="*/ 37294 w 3138833"/>
              <a:gd name="connsiteY7" fmla="*/ 970729 h 2605761"/>
              <a:gd name="connsiteX0" fmla="*/ 37294 w 3138833"/>
              <a:gd name="connsiteY0" fmla="*/ 970729 h 2605761"/>
              <a:gd name="connsiteX1" fmla="*/ 1561907 w 3138833"/>
              <a:gd name="connsiteY1" fmla="*/ 1899 h 2605761"/>
              <a:gd name="connsiteX2" fmla="*/ 3138771 w 3138833"/>
              <a:gd name="connsiteY2" fmla="*/ 1184089 h 2605761"/>
              <a:gd name="connsiteX3" fmla="*/ 2001690 w 3138833"/>
              <a:gd name="connsiteY3" fmla="*/ 2422884 h 2605761"/>
              <a:gd name="connsiteX4" fmla="*/ 886380 w 3138833"/>
              <a:gd name="connsiteY4" fmla="*/ 2357567 h 2605761"/>
              <a:gd name="connsiteX5" fmla="*/ 268073 w 3138833"/>
              <a:gd name="connsiteY5" fmla="*/ 2605761 h 2605761"/>
              <a:gd name="connsiteX6" fmla="*/ 424826 w 3138833"/>
              <a:gd name="connsiteY6" fmla="*/ 2065831 h 2605761"/>
              <a:gd name="connsiteX7" fmla="*/ 37294 w 3138833"/>
              <a:gd name="connsiteY7" fmla="*/ 970729 h 2605761"/>
              <a:gd name="connsiteX0" fmla="*/ 57360 w 3163524"/>
              <a:gd name="connsiteY0" fmla="*/ 957170 h 2592202"/>
              <a:gd name="connsiteX1" fmla="*/ 1581973 w 3163524"/>
              <a:gd name="connsiteY1" fmla="*/ 1403 h 2592202"/>
              <a:gd name="connsiteX2" fmla="*/ 3158837 w 3163524"/>
              <a:gd name="connsiteY2" fmla="*/ 1170530 h 2592202"/>
              <a:gd name="connsiteX3" fmla="*/ 2021756 w 3163524"/>
              <a:gd name="connsiteY3" fmla="*/ 2409325 h 2592202"/>
              <a:gd name="connsiteX4" fmla="*/ 906446 w 3163524"/>
              <a:gd name="connsiteY4" fmla="*/ 2344008 h 2592202"/>
              <a:gd name="connsiteX5" fmla="*/ 288139 w 3163524"/>
              <a:gd name="connsiteY5" fmla="*/ 2592202 h 2592202"/>
              <a:gd name="connsiteX6" fmla="*/ 444892 w 3163524"/>
              <a:gd name="connsiteY6" fmla="*/ 2052272 h 2592202"/>
              <a:gd name="connsiteX7" fmla="*/ 57360 w 3163524"/>
              <a:gd name="connsiteY7" fmla="*/ 957170 h 2592202"/>
              <a:gd name="connsiteX0" fmla="*/ 57360 w 3163524"/>
              <a:gd name="connsiteY0" fmla="*/ 955912 h 2590944"/>
              <a:gd name="connsiteX1" fmla="*/ 1581973 w 3163524"/>
              <a:gd name="connsiteY1" fmla="*/ 145 h 2590944"/>
              <a:gd name="connsiteX2" fmla="*/ 3158837 w 3163524"/>
              <a:gd name="connsiteY2" fmla="*/ 1169272 h 2590944"/>
              <a:gd name="connsiteX3" fmla="*/ 2021756 w 3163524"/>
              <a:gd name="connsiteY3" fmla="*/ 2408067 h 2590944"/>
              <a:gd name="connsiteX4" fmla="*/ 906446 w 3163524"/>
              <a:gd name="connsiteY4" fmla="*/ 2342750 h 2590944"/>
              <a:gd name="connsiteX5" fmla="*/ 288139 w 3163524"/>
              <a:gd name="connsiteY5" fmla="*/ 2590944 h 2590944"/>
              <a:gd name="connsiteX6" fmla="*/ 444892 w 3163524"/>
              <a:gd name="connsiteY6" fmla="*/ 2051014 h 2590944"/>
              <a:gd name="connsiteX7" fmla="*/ 57360 w 3163524"/>
              <a:gd name="connsiteY7" fmla="*/ 955912 h 2590944"/>
              <a:gd name="connsiteX0" fmla="*/ 57360 w 3189384"/>
              <a:gd name="connsiteY0" fmla="*/ 957115 h 2592147"/>
              <a:gd name="connsiteX1" fmla="*/ 1581973 w 3189384"/>
              <a:gd name="connsiteY1" fmla="*/ 1348 h 2592147"/>
              <a:gd name="connsiteX2" fmla="*/ 3184962 w 3189384"/>
              <a:gd name="connsiteY2" fmla="*/ 1166121 h 2592147"/>
              <a:gd name="connsiteX3" fmla="*/ 2021756 w 3189384"/>
              <a:gd name="connsiteY3" fmla="*/ 2409270 h 2592147"/>
              <a:gd name="connsiteX4" fmla="*/ 906446 w 3189384"/>
              <a:gd name="connsiteY4" fmla="*/ 2343953 h 2592147"/>
              <a:gd name="connsiteX5" fmla="*/ 288139 w 3189384"/>
              <a:gd name="connsiteY5" fmla="*/ 2592147 h 2592147"/>
              <a:gd name="connsiteX6" fmla="*/ 444892 w 3189384"/>
              <a:gd name="connsiteY6" fmla="*/ 2052217 h 2592147"/>
              <a:gd name="connsiteX7" fmla="*/ 57360 w 3189384"/>
              <a:gd name="connsiteY7" fmla="*/ 957115 h 2592147"/>
              <a:gd name="connsiteX0" fmla="*/ 57360 w 3185090"/>
              <a:gd name="connsiteY0" fmla="*/ 957115 h 2592147"/>
              <a:gd name="connsiteX1" fmla="*/ 1581973 w 3185090"/>
              <a:gd name="connsiteY1" fmla="*/ 1348 h 2592147"/>
              <a:gd name="connsiteX2" fmla="*/ 3184962 w 3185090"/>
              <a:gd name="connsiteY2" fmla="*/ 1166121 h 2592147"/>
              <a:gd name="connsiteX3" fmla="*/ 2021756 w 3185090"/>
              <a:gd name="connsiteY3" fmla="*/ 2409270 h 2592147"/>
              <a:gd name="connsiteX4" fmla="*/ 906446 w 3185090"/>
              <a:gd name="connsiteY4" fmla="*/ 2343953 h 2592147"/>
              <a:gd name="connsiteX5" fmla="*/ 288139 w 3185090"/>
              <a:gd name="connsiteY5" fmla="*/ 2592147 h 2592147"/>
              <a:gd name="connsiteX6" fmla="*/ 444892 w 3185090"/>
              <a:gd name="connsiteY6" fmla="*/ 2052217 h 2592147"/>
              <a:gd name="connsiteX7" fmla="*/ 57360 w 3185090"/>
              <a:gd name="connsiteY7" fmla="*/ 957115 h 2592147"/>
              <a:gd name="connsiteX0" fmla="*/ 57360 w 3185123"/>
              <a:gd name="connsiteY0" fmla="*/ 955858 h 2590890"/>
              <a:gd name="connsiteX1" fmla="*/ 1581973 w 3185123"/>
              <a:gd name="connsiteY1" fmla="*/ 91 h 2590890"/>
              <a:gd name="connsiteX2" fmla="*/ 3184962 w 3185123"/>
              <a:gd name="connsiteY2" fmla="*/ 1164864 h 2590890"/>
              <a:gd name="connsiteX3" fmla="*/ 2021756 w 3185123"/>
              <a:gd name="connsiteY3" fmla="*/ 2408013 h 2590890"/>
              <a:gd name="connsiteX4" fmla="*/ 906446 w 3185123"/>
              <a:gd name="connsiteY4" fmla="*/ 2342696 h 2590890"/>
              <a:gd name="connsiteX5" fmla="*/ 288139 w 3185123"/>
              <a:gd name="connsiteY5" fmla="*/ 2590890 h 2590890"/>
              <a:gd name="connsiteX6" fmla="*/ 444892 w 3185123"/>
              <a:gd name="connsiteY6" fmla="*/ 2050960 h 2590890"/>
              <a:gd name="connsiteX7" fmla="*/ 57360 w 3185123"/>
              <a:gd name="connsiteY7" fmla="*/ 955858 h 2590890"/>
              <a:gd name="connsiteX0" fmla="*/ 64012 w 3139490"/>
              <a:gd name="connsiteY0" fmla="*/ 935677 h 2592480"/>
              <a:gd name="connsiteX1" fmla="*/ 1536374 w 3139490"/>
              <a:gd name="connsiteY1" fmla="*/ 1681 h 2592480"/>
              <a:gd name="connsiteX2" fmla="*/ 3139363 w 3139490"/>
              <a:gd name="connsiteY2" fmla="*/ 1166454 h 2592480"/>
              <a:gd name="connsiteX3" fmla="*/ 1976157 w 3139490"/>
              <a:gd name="connsiteY3" fmla="*/ 2409603 h 2592480"/>
              <a:gd name="connsiteX4" fmla="*/ 860847 w 3139490"/>
              <a:gd name="connsiteY4" fmla="*/ 2344286 h 2592480"/>
              <a:gd name="connsiteX5" fmla="*/ 242540 w 3139490"/>
              <a:gd name="connsiteY5" fmla="*/ 2592480 h 2592480"/>
              <a:gd name="connsiteX6" fmla="*/ 399293 w 3139490"/>
              <a:gd name="connsiteY6" fmla="*/ 2052550 h 2592480"/>
              <a:gd name="connsiteX7" fmla="*/ 64012 w 3139490"/>
              <a:gd name="connsiteY7" fmla="*/ 935677 h 2592480"/>
              <a:gd name="connsiteX0" fmla="*/ 30881 w 3106359"/>
              <a:gd name="connsiteY0" fmla="*/ 936169 h 2592972"/>
              <a:gd name="connsiteX1" fmla="*/ 1503243 w 3106359"/>
              <a:gd name="connsiteY1" fmla="*/ 2173 h 2592972"/>
              <a:gd name="connsiteX2" fmla="*/ 3106232 w 3106359"/>
              <a:gd name="connsiteY2" fmla="*/ 1166946 h 2592972"/>
              <a:gd name="connsiteX3" fmla="*/ 1943026 w 3106359"/>
              <a:gd name="connsiteY3" fmla="*/ 2410095 h 2592972"/>
              <a:gd name="connsiteX4" fmla="*/ 827716 w 3106359"/>
              <a:gd name="connsiteY4" fmla="*/ 2344778 h 2592972"/>
              <a:gd name="connsiteX5" fmla="*/ 209409 w 3106359"/>
              <a:gd name="connsiteY5" fmla="*/ 2592972 h 2592972"/>
              <a:gd name="connsiteX6" fmla="*/ 366162 w 3106359"/>
              <a:gd name="connsiteY6" fmla="*/ 2053042 h 2592972"/>
              <a:gd name="connsiteX7" fmla="*/ 30881 w 3106359"/>
              <a:gd name="connsiteY7" fmla="*/ 936169 h 2592972"/>
              <a:gd name="connsiteX0" fmla="*/ 62211 w 3137689"/>
              <a:gd name="connsiteY0" fmla="*/ 935673 h 2592476"/>
              <a:gd name="connsiteX1" fmla="*/ 1534573 w 3137689"/>
              <a:gd name="connsiteY1" fmla="*/ 1677 h 2592476"/>
              <a:gd name="connsiteX2" fmla="*/ 3137562 w 3137689"/>
              <a:gd name="connsiteY2" fmla="*/ 1166450 h 2592476"/>
              <a:gd name="connsiteX3" fmla="*/ 1974356 w 3137689"/>
              <a:gd name="connsiteY3" fmla="*/ 2409599 h 2592476"/>
              <a:gd name="connsiteX4" fmla="*/ 859046 w 3137689"/>
              <a:gd name="connsiteY4" fmla="*/ 2344282 h 2592476"/>
              <a:gd name="connsiteX5" fmla="*/ 240739 w 3137689"/>
              <a:gd name="connsiteY5" fmla="*/ 2592476 h 2592476"/>
              <a:gd name="connsiteX6" fmla="*/ 406200 w 3137689"/>
              <a:gd name="connsiteY6" fmla="*/ 2039484 h 2592476"/>
              <a:gd name="connsiteX7" fmla="*/ 62211 w 3137689"/>
              <a:gd name="connsiteY7" fmla="*/ 935673 h 2592476"/>
              <a:gd name="connsiteX0" fmla="*/ 62211 w 3137689"/>
              <a:gd name="connsiteY0" fmla="*/ 935673 h 2592476"/>
              <a:gd name="connsiteX1" fmla="*/ 1534573 w 3137689"/>
              <a:gd name="connsiteY1" fmla="*/ 1677 h 2592476"/>
              <a:gd name="connsiteX2" fmla="*/ 3137562 w 3137689"/>
              <a:gd name="connsiteY2" fmla="*/ 1166450 h 2592476"/>
              <a:gd name="connsiteX3" fmla="*/ 1974356 w 3137689"/>
              <a:gd name="connsiteY3" fmla="*/ 2409599 h 2592476"/>
              <a:gd name="connsiteX4" fmla="*/ 859046 w 3137689"/>
              <a:gd name="connsiteY4" fmla="*/ 2344282 h 2592476"/>
              <a:gd name="connsiteX5" fmla="*/ 240739 w 3137689"/>
              <a:gd name="connsiteY5" fmla="*/ 2592476 h 2592476"/>
              <a:gd name="connsiteX6" fmla="*/ 406200 w 3137689"/>
              <a:gd name="connsiteY6" fmla="*/ 2039484 h 2592476"/>
              <a:gd name="connsiteX7" fmla="*/ 62211 w 3137689"/>
              <a:gd name="connsiteY7" fmla="*/ 935673 h 2592476"/>
              <a:gd name="connsiteX0" fmla="*/ 62211 w 3137692"/>
              <a:gd name="connsiteY0" fmla="*/ 934093 h 2590896"/>
              <a:gd name="connsiteX1" fmla="*/ 1534573 w 3137692"/>
              <a:gd name="connsiteY1" fmla="*/ 97 h 2590896"/>
              <a:gd name="connsiteX2" fmla="*/ 3137562 w 3137692"/>
              <a:gd name="connsiteY2" fmla="*/ 1164870 h 2590896"/>
              <a:gd name="connsiteX3" fmla="*/ 1974356 w 3137692"/>
              <a:gd name="connsiteY3" fmla="*/ 2408019 h 2590896"/>
              <a:gd name="connsiteX4" fmla="*/ 859046 w 3137692"/>
              <a:gd name="connsiteY4" fmla="*/ 2342702 h 2590896"/>
              <a:gd name="connsiteX5" fmla="*/ 240739 w 3137692"/>
              <a:gd name="connsiteY5" fmla="*/ 2590896 h 2590896"/>
              <a:gd name="connsiteX6" fmla="*/ 406200 w 3137692"/>
              <a:gd name="connsiteY6" fmla="*/ 2037904 h 2590896"/>
              <a:gd name="connsiteX7" fmla="*/ 62211 w 3137692"/>
              <a:gd name="connsiteY7" fmla="*/ 934093 h 2590896"/>
              <a:gd name="connsiteX0" fmla="*/ 62211 w 3137692"/>
              <a:gd name="connsiteY0" fmla="*/ 934093 h 2590896"/>
              <a:gd name="connsiteX1" fmla="*/ 1534573 w 3137692"/>
              <a:gd name="connsiteY1" fmla="*/ 97 h 2590896"/>
              <a:gd name="connsiteX2" fmla="*/ 3137562 w 3137692"/>
              <a:gd name="connsiteY2" fmla="*/ 1164870 h 2590896"/>
              <a:gd name="connsiteX3" fmla="*/ 1974356 w 3137692"/>
              <a:gd name="connsiteY3" fmla="*/ 2408019 h 2590896"/>
              <a:gd name="connsiteX4" fmla="*/ 859046 w 3137692"/>
              <a:gd name="connsiteY4" fmla="*/ 2342702 h 2590896"/>
              <a:gd name="connsiteX5" fmla="*/ 240739 w 3137692"/>
              <a:gd name="connsiteY5" fmla="*/ 2590896 h 2590896"/>
              <a:gd name="connsiteX6" fmla="*/ 406200 w 3137692"/>
              <a:gd name="connsiteY6" fmla="*/ 2037904 h 2590896"/>
              <a:gd name="connsiteX7" fmla="*/ 62211 w 3137692"/>
              <a:gd name="connsiteY7" fmla="*/ 934093 h 2590896"/>
              <a:gd name="connsiteX0" fmla="*/ 0 w 3075481"/>
              <a:gd name="connsiteY0" fmla="*/ 934093 h 2590896"/>
              <a:gd name="connsiteX1" fmla="*/ 1472362 w 3075481"/>
              <a:gd name="connsiteY1" fmla="*/ 97 h 2590896"/>
              <a:gd name="connsiteX2" fmla="*/ 3075351 w 3075481"/>
              <a:gd name="connsiteY2" fmla="*/ 1164870 h 2590896"/>
              <a:gd name="connsiteX3" fmla="*/ 1912145 w 3075481"/>
              <a:gd name="connsiteY3" fmla="*/ 2408019 h 2590896"/>
              <a:gd name="connsiteX4" fmla="*/ 796835 w 3075481"/>
              <a:gd name="connsiteY4" fmla="*/ 2342702 h 2590896"/>
              <a:gd name="connsiteX5" fmla="*/ 178528 w 3075481"/>
              <a:gd name="connsiteY5" fmla="*/ 2590896 h 2590896"/>
              <a:gd name="connsiteX6" fmla="*/ 343989 w 3075481"/>
              <a:gd name="connsiteY6" fmla="*/ 2037904 h 2590896"/>
              <a:gd name="connsiteX7" fmla="*/ 0 w 3075481"/>
              <a:gd name="connsiteY7" fmla="*/ 934093 h 2590896"/>
              <a:gd name="connsiteX0" fmla="*/ 0 w 3075481"/>
              <a:gd name="connsiteY0" fmla="*/ 934093 h 2590896"/>
              <a:gd name="connsiteX1" fmla="*/ 1472362 w 3075481"/>
              <a:gd name="connsiteY1" fmla="*/ 97 h 2590896"/>
              <a:gd name="connsiteX2" fmla="*/ 3075351 w 3075481"/>
              <a:gd name="connsiteY2" fmla="*/ 1164870 h 2590896"/>
              <a:gd name="connsiteX3" fmla="*/ 1912145 w 3075481"/>
              <a:gd name="connsiteY3" fmla="*/ 2408019 h 2590896"/>
              <a:gd name="connsiteX4" fmla="*/ 796835 w 3075481"/>
              <a:gd name="connsiteY4" fmla="*/ 2342702 h 2590896"/>
              <a:gd name="connsiteX5" fmla="*/ 178528 w 3075481"/>
              <a:gd name="connsiteY5" fmla="*/ 2590896 h 2590896"/>
              <a:gd name="connsiteX6" fmla="*/ 343989 w 3075481"/>
              <a:gd name="connsiteY6" fmla="*/ 2037904 h 2590896"/>
              <a:gd name="connsiteX7" fmla="*/ 0 w 3075481"/>
              <a:gd name="connsiteY7" fmla="*/ 934093 h 2590896"/>
              <a:gd name="connsiteX0" fmla="*/ 35700 w 3111181"/>
              <a:gd name="connsiteY0" fmla="*/ 934093 h 2590896"/>
              <a:gd name="connsiteX1" fmla="*/ 1508062 w 3111181"/>
              <a:gd name="connsiteY1" fmla="*/ 97 h 2590896"/>
              <a:gd name="connsiteX2" fmla="*/ 3111051 w 3111181"/>
              <a:gd name="connsiteY2" fmla="*/ 1164870 h 2590896"/>
              <a:gd name="connsiteX3" fmla="*/ 1947845 w 3111181"/>
              <a:gd name="connsiteY3" fmla="*/ 2408019 h 2590896"/>
              <a:gd name="connsiteX4" fmla="*/ 832535 w 3111181"/>
              <a:gd name="connsiteY4" fmla="*/ 2342702 h 2590896"/>
              <a:gd name="connsiteX5" fmla="*/ 214228 w 3111181"/>
              <a:gd name="connsiteY5" fmla="*/ 2590896 h 2590896"/>
              <a:gd name="connsiteX6" fmla="*/ 379689 w 3111181"/>
              <a:gd name="connsiteY6" fmla="*/ 2037904 h 2590896"/>
              <a:gd name="connsiteX7" fmla="*/ 35700 w 3111181"/>
              <a:gd name="connsiteY7" fmla="*/ 934093 h 2590896"/>
              <a:gd name="connsiteX0" fmla="*/ 34402 w 3109883"/>
              <a:gd name="connsiteY0" fmla="*/ 934093 h 2590896"/>
              <a:gd name="connsiteX1" fmla="*/ 1506764 w 3109883"/>
              <a:gd name="connsiteY1" fmla="*/ 97 h 2590896"/>
              <a:gd name="connsiteX2" fmla="*/ 3109753 w 3109883"/>
              <a:gd name="connsiteY2" fmla="*/ 1164870 h 2590896"/>
              <a:gd name="connsiteX3" fmla="*/ 1946547 w 3109883"/>
              <a:gd name="connsiteY3" fmla="*/ 2408019 h 2590896"/>
              <a:gd name="connsiteX4" fmla="*/ 831237 w 3109883"/>
              <a:gd name="connsiteY4" fmla="*/ 2342702 h 2590896"/>
              <a:gd name="connsiteX5" fmla="*/ 212930 w 3109883"/>
              <a:gd name="connsiteY5" fmla="*/ 2590896 h 2590896"/>
              <a:gd name="connsiteX6" fmla="*/ 391091 w 3109883"/>
              <a:gd name="connsiteY6" fmla="*/ 2044254 h 2590896"/>
              <a:gd name="connsiteX7" fmla="*/ 34402 w 3109883"/>
              <a:gd name="connsiteY7" fmla="*/ 934093 h 2590896"/>
              <a:gd name="connsiteX0" fmla="*/ 35596 w 3111077"/>
              <a:gd name="connsiteY0" fmla="*/ 934093 h 2590896"/>
              <a:gd name="connsiteX1" fmla="*/ 1507958 w 3111077"/>
              <a:gd name="connsiteY1" fmla="*/ 97 h 2590896"/>
              <a:gd name="connsiteX2" fmla="*/ 3110947 w 3111077"/>
              <a:gd name="connsiteY2" fmla="*/ 1164870 h 2590896"/>
              <a:gd name="connsiteX3" fmla="*/ 1947741 w 3111077"/>
              <a:gd name="connsiteY3" fmla="*/ 2408019 h 2590896"/>
              <a:gd name="connsiteX4" fmla="*/ 832431 w 3111077"/>
              <a:gd name="connsiteY4" fmla="*/ 2342702 h 2590896"/>
              <a:gd name="connsiteX5" fmla="*/ 214124 w 3111077"/>
              <a:gd name="connsiteY5" fmla="*/ 2590896 h 2590896"/>
              <a:gd name="connsiteX6" fmla="*/ 392285 w 3111077"/>
              <a:gd name="connsiteY6" fmla="*/ 2044254 h 2590896"/>
              <a:gd name="connsiteX7" fmla="*/ 35596 w 3111077"/>
              <a:gd name="connsiteY7" fmla="*/ 934093 h 2590896"/>
              <a:gd name="connsiteX0" fmla="*/ 35596 w 3115399"/>
              <a:gd name="connsiteY0" fmla="*/ 938814 h 2595617"/>
              <a:gd name="connsiteX1" fmla="*/ 1506371 w 3115399"/>
              <a:gd name="connsiteY1" fmla="*/ 55 h 2595617"/>
              <a:gd name="connsiteX2" fmla="*/ 3110947 w 3115399"/>
              <a:gd name="connsiteY2" fmla="*/ 1169591 h 2595617"/>
              <a:gd name="connsiteX3" fmla="*/ 1947741 w 3115399"/>
              <a:gd name="connsiteY3" fmla="*/ 2412740 h 2595617"/>
              <a:gd name="connsiteX4" fmla="*/ 832431 w 3115399"/>
              <a:gd name="connsiteY4" fmla="*/ 2347423 h 2595617"/>
              <a:gd name="connsiteX5" fmla="*/ 214124 w 3115399"/>
              <a:gd name="connsiteY5" fmla="*/ 2595617 h 2595617"/>
              <a:gd name="connsiteX6" fmla="*/ 392285 w 3115399"/>
              <a:gd name="connsiteY6" fmla="*/ 2048975 h 2595617"/>
              <a:gd name="connsiteX7" fmla="*/ 35596 w 3115399"/>
              <a:gd name="connsiteY7" fmla="*/ 938814 h 2595617"/>
              <a:gd name="connsiteX0" fmla="*/ 35596 w 3115399"/>
              <a:gd name="connsiteY0" fmla="*/ 938814 h 2595617"/>
              <a:gd name="connsiteX1" fmla="*/ 1506371 w 3115399"/>
              <a:gd name="connsiteY1" fmla="*/ 55 h 2595617"/>
              <a:gd name="connsiteX2" fmla="*/ 3110947 w 3115399"/>
              <a:gd name="connsiteY2" fmla="*/ 1169591 h 2595617"/>
              <a:gd name="connsiteX3" fmla="*/ 1947741 w 3115399"/>
              <a:gd name="connsiteY3" fmla="*/ 2412740 h 2595617"/>
              <a:gd name="connsiteX4" fmla="*/ 832431 w 3115399"/>
              <a:gd name="connsiteY4" fmla="*/ 2347423 h 2595617"/>
              <a:gd name="connsiteX5" fmla="*/ 214124 w 3115399"/>
              <a:gd name="connsiteY5" fmla="*/ 2595617 h 2595617"/>
              <a:gd name="connsiteX6" fmla="*/ 392285 w 3115399"/>
              <a:gd name="connsiteY6" fmla="*/ 2048975 h 2595617"/>
              <a:gd name="connsiteX7" fmla="*/ 35596 w 3115399"/>
              <a:gd name="connsiteY7" fmla="*/ 938814 h 2595617"/>
              <a:gd name="connsiteX0" fmla="*/ 35596 w 3115399"/>
              <a:gd name="connsiteY0" fmla="*/ 938814 h 2595617"/>
              <a:gd name="connsiteX1" fmla="*/ 1506371 w 3115399"/>
              <a:gd name="connsiteY1" fmla="*/ 55 h 2595617"/>
              <a:gd name="connsiteX2" fmla="*/ 3110947 w 3115399"/>
              <a:gd name="connsiteY2" fmla="*/ 1169591 h 2595617"/>
              <a:gd name="connsiteX3" fmla="*/ 1947741 w 3115399"/>
              <a:gd name="connsiteY3" fmla="*/ 2412740 h 2595617"/>
              <a:gd name="connsiteX4" fmla="*/ 832431 w 3115399"/>
              <a:gd name="connsiteY4" fmla="*/ 2347423 h 2595617"/>
              <a:gd name="connsiteX5" fmla="*/ 214124 w 3115399"/>
              <a:gd name="connsiteY5" fmla="*/ 2595617 h 2595617"/>
              <a:gd name="connsiteX6" fmla="*/ 392285 w 3115399"/>
              <a:gd name="connsiteY6" fmla="*/ 2048975 h 2595617"/>
              <a:gd name="connsiteX7" fmla="*/ 35596 w 3115399"/>
              <a:gd name="connsiteY7" fmla="*/ 938814 h 2595617"/>
              <a:gd name="connsiteX0" fmla="*/ 35596 w 3115399"/>
              <a:gd name="connsiteY0" fmla="*/ 938890 h 2595693"/>
              <a:gd name="connsiteX1" fmla="*/ 1506371 w 3115399"/>
              <a:gd name="connsiteY1" fmla="*/ 131 h 2595693"/>
              <a:gd name="connsiteX2" fmla="*/ 3110947 w 3115399"/>
              <a:gd name="connsiteY2" fmla="*/ 1169667 h 2595693"/>
              <a:gd name="connsiteX3" fmla="*/ 1947741 w 3115399"/>
              <a:gd name="connsiteY3" fmla="*/ 2412816 h 2595693"/>
              <a:gd name="connsiteX4" fmla="*/ 832431 w 3115399"/>
              <a:gd name="connsiteY4" fmla="*/ 2347499 h 2595693"/>
              <a:gd name="connsiteX5" fmla="*/ 214124 w 3115399"/>
              <a:gd name="connsiteY5" fmla="*/ 2595693 h 2595693"/>
              <a:gd name="connsiteX6" fmla="*/ 392285 w 3115399"/>
              <a:gd name="connsiteY6" fmla="*/ 2049051 h 2595693"/>
              <a:gd name="connsiteX7" fmla="*/ 35596 w 3115399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32431 w 3110970"/>
              <a:gd name="connsiteY4" fmla="*/ 2347499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57831 w 3110970"/>
              <a:gd name="connsiteY4" fmla="*/ 2336387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595693"/>
              <a:gd name="connsiteX1" fmla="*/ 1506371 w 3110970"/>
              <a:gd name="connsiteY1" fmla="*/ 131 h 2595693"/>
              <a:gd name="connsiteX2" fmla="*/ 3110947 w 3110970"/>
              <a:gd name="connsiteY2" fmla="*/ 1169667 h 2595693"/>
              <a:gd name="connsiteX3" fmla="*/ 1947741 w 3110970"/>
              <a:gd name="connsiteY3" fmla="*/ 2412816 h 2595693"/>
              <a:gd name="connsiteX4" fmla="*/ 857831 w 3110970"/>
              <a:gd name="connsiteY4" fmla="*/ 2336387 h 2595693"/>
              <a:gd name="connsiteX5" fmla="*/ 214124 w 3110970"/>
              <a:gd name="connsiteY5" fmla="*/ 2595693 h 2595693"/>
              <a:gd name="connsiteX6" fmla="*/ 392285 w 3110970"/>
              <a:gd name="connsiteY6" fmla="*/ 2049051 h 2595693"/>
              <a:gd name="connsiteX7" fmla="*/ 35596 w 3110970"/>
              <a:gd name="connsiteY7" fmla="*/ 938890 h 2595693"/>
              <a:gd name="connsiteX0" fmla="*/ 35596 w 3110970"/>
              <a:gd name="connsiteY0" fmla="*/ 938890 h 2609980"/>
              <a:gd name="connsiteX1" fmla="*/ 1506371 w 3110970"/>
              <a:gd name="connsiteY1" fmla="*/ 131 h 2609980"/>
              <a:gd name="connsiteX2" fmla="*/ 3110947 w 3110970"/>
              <a:gd name="connsiteY2" fmla="*/ 1169667 h 2609980"/>
              <a:gd name="connsiteX3" fmla="*/ 1947741 w 3110970"/>
              <a:gd name="connsiteY3" fmla="*/ 2412816 h 2609980"/>
              <a:gd name="connsiteX4" fmla="*/ 857831 w 3110970"/>
              <a:gd name="connsiteY4" fmla="*/ 2336387 h 2609980"/>
              <a:gd name="connsiteX5" fmla="*/ 244287 w 3110970"/>
              <a:gd name="connsiteY5" fmla="*/ 2609980 h 2609980"/>
              <a:gd name="connsiteX6" fmla="*/ 392285 w 3110970"/>
              <a:gd name="connsiteY6" fmla="*/ 2049051 h 2609980"/>
              <a:gd name="connsiteX7" fmla="*/ 35596 w 3110970"/>
              <a:gd name="connsiteY7" fmla="*/ 938890 h 2609980"/>
              <a:gd name="connsiteX0" fmla="*/ 35596 w 3110951"/>
              <a:gd name="connsiteY0" fmla="*/ 938876 h 2609966"/>
              <a:gd name="connsiteX1" fmla="*/ 1506371 w 3110951"/>
              <a:gd name="connsiteY1" fmla="*/ 117 h 2609966"/>
              <a:gd name="connsiteX2" fmla="*/ 3110947 w 3110951"/>
              <a:gd name="connsiteY2" fmla="*/ 1169653 h 2609966"/>
              <a:gd name="connsiteX3" fmla="*/ 1947741 w 3110951"/>
              <a:gd name="connsiteY3" fmla="*/ 2412802 h 2609966"/>
              <a:gd name="connsiteX4" fmla="*/ 857831 w 3110951"/>
              <a:gd name="connsiteY4" fmla="*/ 2336373 h 2609966"/>
              <a:gd name="connsiteX5" fmla="*/ 244287 w 3110951"/>
              <a:gd name="connsiteY5" fmla="*/ 2609966 h 2609966"/>
              <a:gd name="connsiteX6" fmla="*/ 392285 w 3110951"/>
              <a:gd name="connsiteY6" fmla="*/ 2049037 h 2609966"/>
              <a:gd name="connsiteX7" fmla="*/ 35596 w 3110951"/>
              <a:gd name="connsiteY7" fmla="*/ 938876 h 2609966"/>
              <a:gd name="connsiteX0" fmla="*/ 35596 w 3110951"/>
              <a:gd name="connsiteY0" fmla="*/ 938893 h 2609983"/>
              <a:gd name="connsiteX1" fmla="*/ 1506371 w 3110951"/>
              <a:gd name="connsiteY1" fmla="*/ 134 h 2609983"/>
              <a:gd name="connsiteX2" fmla="*/ 3110947 w 3110951"/>
              <a:gd name="connsiteY2" fmla="*/ 1169670 h 2609983"/>
              <a:gd name="connsiteX3" fmla="*/ 1947741 w 3110951"/>
              <a:gd name="connsiteY3" fmla="*/ 2412819 h 2609983"/>
              <a:gd name="connsiteX4" fmla="*/ 857831 w 3110951"/>
              <a:gd name="connsiteY4" fmla="*/ 2336390 h 2609983"/>
              <a:gd name="connsiteX5" fmla="*/ 244287 w 3110951"/>
              <a:gd name="connsiteY5" fmla="*/ 2609983 h 2609983"/>
              <a:gd name="connsiteX6" fmla="*/ 392285 w 3110951"/>
              <a:gd name="connsiteY6" fmla="*/ 2049054 h 2609983"/>
              <a:gd name="connsiteX7" fmla="*/ 35596 w 3110951"/>
              <a:gd name="connsiteY7" fmla="*/ 938893 h 2609983"/>
              <a:gd name="connsiteX0" fmla="*/ 35596 w 3110951"/>
              <a:gd name="connsiteY0" fmla="*/ 938886 h 2609976"/>
              <a:gd name="connsiteX1" fmla="*/ 1506371 w 3110951"/>
              <a:gd name="connsiteY1" fmla="*/ 127 h 2609976"/>
              <a:gd name="connsiteX2" fmla="*/ 3110947 w 3110951"/>
              <a:gd name="connsiteY2" fmla="*/ 1169663 h 2609976"/>
              <a:gd name="connsiteX3" fmla="*/ 1947741 w 3110951"/>
              <a:gd name="connsiteY3" fmla="*/ 2412812 h 2609976"/>
              <a:gd name="connsiteX4" fmla="*/ 857831 w 3110951"/>
              <a:gd name="connsiteY4" fmla="*/ 2336383 h 2609976"/>
              <a:gd name="connsiteX5" fmla="*/ 244287 w 3110951"/>
              <a:gd name="connsiteY5" fmla="*/ 2609976 h 2609976"/>
              <a:gd name="connsiteX6" fmla="*/ 392285 w 3110951"/>
              <a:gd name="connsiteY6" fmla="*/ 2049047 h 2609976"/>
              <a:gd name="connsiteX7" fmla="*/ 35596 w 3110951"/>
              <a:gd name="connsiteY7" fmla="*/ 938886 h 2609976"/>
              <a:gd name="connsiteX0" fmla="*/ 35596 w 3110951"/>
              <a:gd name="connsiteY0" fmla="*/ 938886 h 2609976"/>
              <a:gd name="connsiteX1" fmla="*/ 1506371 w 3110951"/>
              <a:gd name="connsiteY1" fmla="*/ 127 h 2609976"/>
              <a:gd name="connsiteX2" fmla="*/ 3110947 w 3110951"/>
              <a:gd name="connsiteY2" fmla="*/ 1169663 h 2609976"/>
              <a:gd name="connsiteX3" fmla="*/ 1947741 w 3110951"/>
              <a:gd name="connsiteY3" fmla="*/ 2412812 h 2609976"/>
              <a:gd name="connsiteX4" fmla="*/ 857831 w 3110951"/>
              <a:gd name="connsiteY4" fmla="*/ 2336383 h 2609976"/>
              <a:gd name="connsiteX5" fmla="*/ 244287 w 3110951"/>
              <a:gd name="connsiteY5" fmla="*/ 2609976 h 2609976"/>
              <a:gd name="connsiteX6" fmla="*/ 392285 w 3110951"/>
              <a:gd name="connsiteY6" fmla="*/ 2049047 h 2609976"/>
              <a:gd name="connsiteX7" fmla="*/ 35596 w 3110951"/>
              <a:gd name="connsiteY7" fmla="*/ 938886 h 2609976"/>
              <a:gd name="connsiteX0" fmla="*/ 35596 w 3110951"/>
              <a:gd name="connsiteY0" fmla="*/ 938886 h 2609976"/>
              <a:gd name="connsiteX1" fmla="*/ 1506371 w 3110951"/>
              <a:gd name="connsiteY1" fmla="*/ 127 h 2609976"/>
              <a:gd name="connsiteX2" fmla="*/ 3110947 w 3110951"/>
              <a:gd name="connsiteY2" fmla="*/ 1169663 h 2609976"/>
              <a:gd name="connsiteX3" fmla="*/ 1947741 w 3110951"/>
              <a:gd name="connsiteY3" fmla="*/ 2412812 h 2609976"/>
              <a:gd name="connsiteX4" fmla="*/ 857831 w 3110951"/>
              <a:gd name="connsiteY4" fmla="*/ 2336383 h 2609976"/>
              <a:gd name="connsiteX5" fmla="*/ 244287 w 3110951"/>
              <a:gd name="connsiteY5" fmla="*/ 2609976 h 2609976"/>
              <a:gd name="connsiteX6" fmla="*/ 392285 w 3110951"/>
              <a:gd name="connsiteY6" fmla="*/ 2049047 h 2609976"/>
              <a:gd name="connsiteX7" fmla="*/ 35596 w 3110951"/>
              <a:gd name="connsiteY7" fmla="*/ 938886 h 2609976"/>
              <a:gd name="connsiteX0" fmla="*/ 87363 w 3162718"/>
              <a:gd name="connsiteY0" fmla="*/ 938886 h 2609976"/>
              <a:gd name="connsiteX1" fmla="*/ 1558138 w 3162718"/>
              <a:gd name="connsiteY1" fmla="*/ 127 h 2609976"/>
              <a:gd name="connsiteX2" fmla="*/ 3162714 w 3162718"/>
              <a:gd name="connsiteY2" fmla="*/ 1169663 h 2609976"/>
              <a:gd name="connsiteX3" fmla="*/ 1999508 w 3162718"/>
              <a:gd name="connsiteY3" fmla="*/ 2412812 h 2609976"/>
              <a:gd name="connsiteX4" fmla="*/ 909598 w 3162718"/>
              <a:gd name="connsiteY4" fmla="*/ 2336383 h 2609976"/>
              <a:gd name="connsiteX5" fmla="*/ 296054 w 3162718"/>
              <a:gd name="connsiteY5" fmla="*/ 2609976 h 2609976"/>
              <a:gd name="connsiteX6" fmla="*/ 444052 w 3162718"/>
              <a:gd name="connsiteY6" fmla="*/ 2049047 h 2609976"/>
              <a:gd name="connsiteX7" fmla="*/ 198961 w 3162718"/>
              <a:gd name="connsiteY7" fmla="*/ 1761996 h 2609976"/>
              <a:gd name="connsiteX8" fmla="*/ 87363 w 3162718"/>
              <a:gd name="connsiteY8" fmla="*/ 938886 h 2609976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0 w 3393714"/>
              <a:gd name="connsiteY5" fmla="*/ 2305188 h 2446912"/>
              <a:gd name="connsiteX6" fmla="*/ 675048 w 3393714"/>
              <a:gd name="connsiteY6" fmla="*/ 2049047 h 2446912"/>
              <a:gd name="connsiteX7" fmla="*/ 429957 w 3393714"/>
              <a:gd name="connsiteY7" fmla="*/ 1761996 h 2446912"/>
              <a:gd name="connsiteX8" fmla="*/ 318359 w 3393714"/>
              <a:gd name="connsiteY8" fmla="*/ 938886 h 2446912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0 w 3393714"/>
              <a:gd name="connsiteY5" fmla="*/ 2305188 h 2446912"/>
              <a:gd name="connsiteX6" fmla="*/ 429957 w 3393714"/>
              <a:gd name="connsiteY6" fmla="*/ 1761996 h 2446912"/>
              <a:gd name="connsiteX7" fmla="*/ 318359 w 3393714"/>
              <a:gd name="connsiteY7" fmla="*/ 938886 h 2446912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760157 w 3393714"/>
              <a:gd name="connsiteY5" fmla="*/ 2326656 h 2446912"/>
              <a:gd name="connsiteX6" fmla="*/ 0 w 3393714"/>
              <a:gd name="connsiteY6" fmla="*/ 2305188 h 2446912"/>
              <a:gd name="connsiteX7" fmla="*/ 429957 w 3393714"/>
              <a:gd name="connsiteY7" fmla="*/ 1761996 h 2446912"/>
              <a:gd name="connsiteX8" fmla="*/ 318359 w 3393714"/>
              <a:gd name="connsiteY8" fmla="*/ 938886 h 2446912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788732 w 3393714"/>
              <a:gd name="connsiteY5" fmla="*/ 2146992 h 2446912"/>
              <a:gd name="connsiteX6" fmla="*/ 0 w 3393714"/>
              <a:gd name="connsiteY6" fmla="*/ 2305188 h 2446912"/>
              <a:gd name="connsiteX7" fmla="*/ 429957 w 3393714"/>
              <a:gd name="connsiteY7" fmla="*/ 1761996 h 2446912"/>
              <a:gd name="connsiteX8" fmla="*/ 318359 w 3393714"/>
              <a:gd name="connsiteY8" fmla="*/ 938886 h 2446912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788732 w 3393714"/>
              <a:gd name="connsiteY5" fmla="*/ 2146992 h 2446912"/>
              <a:gd name="connsiteX6" fmla="*/ 0 w 3393714"/>
              <a:gd name="connsiteY6" fmla="*/ 2305188 h 2446912"/>
              <a:gd name="connsiteX7" fmla="*/ 429957 w 3393714"/>
              <a:gd name="connsiteY7" fmla="*/ 1761996 h 2446912"/>
              <a:gd name="connsiteX8" fmla="*/ 318359 w 3393714"/>
              <a:gd name="connsiteY8" fmla="*/ 938886 h 2446912"/>
              <a:gd name="connsiteX0" fmla="*/ 318359 w 3393714"/>
              <a:gd name="connsiteY0" fmla="*/ 938886 h 2446912"/>
              <a:gd name="connsiteX1" fmla="*/ 1789134 w 3393714"/>
              <a:gd name="connsiteY1" fmla="*/ 127 h 2446912"/>
              <a:gd name="connsiteX2" fmla="*/ 3393710 w 3393714"/>
              <a:gd name="connsiteY2" fmla="*/ 1169663 h 2446912"/>
              <a:gd name="connsiteX3" fmla="*/ 2230504 w 3393714"/>
              <a:gd name="connsiteY3" fmla="*/ 2412812 h 2446912"/>
              <a:gd name="connsiteX4" fmla="*/ 1140594 w 3393714"/>
              <a:gd name="connsiteY4" fmla="*/ 2336383 h 2446912"/>
              <a:gd name="connsiteX5" fmla="*/ 788732 w 3393714"/>
              <a:gd name="connsiteY5" fmla="*/ 2146992 h 2446912"/>
              <a:gd name="connsiteX6" fmla="*/ 0 w 3393714"/>
              <a:gd name="connsiteY6" fmla="*/ 2305188 h 2446912"/>
              <a:gd name="connsiteX7" fmla="*/ 429957 w 3393714"/>
              <a:gd name="connsiteY7" fmla="*/ 1761996 h 2446912"/>
              <a:gd name="connsiteX8" fmla="*/ 318359 w 3393714"/>
              <a:gd name="connsiteY8" fmla="*/ 938886 h 2446912"/>
              <a:gd name="connsiteX0" fmla="*/ 318359 w 3393714"/>
              <a:gd name="connsiteY0" fmla="*/ 938886 h 2444833"/>
              <a:gd name="connsiteX1" fmla="*/ 1789134 w 3393714"/>
              <a:gd name="connsiteY1" fmla="*/ 127 h 2444833"/>
              <a:gd name="connsiteX2" fmla="*/ 3393710 w 3393714"/>
              <a:gd name="connsiteY2" fmla="*/ 1169663 h 2444833"/>
              <a:gd name="connsiteX3" fmla="*/ 2230504 w 3393714"/>
              <a:gd name="connsiteY3" fmla="*/ 2412812 h 2444833"/>
              <a:gd name="connsiteX4" fmla="*/ 1140594 w 3393714"/>
              <a:gd name="connsiteY4" fmla="*/ 2336383 h 2444833"/>
              <a:gd name="connsiteX5" fmla="*/ 788732 w 3393714"/>
              <a:gd name="connsiteY5" fmla="*/ 2146992 h 2444833"/>
              <a:gd name="connsiteX6" fmla="*/ 0 w 3393714"/>
              <a:gd name="connsiteY6" fmla="*/ 2305188 h 2444833"/>
              <a:gd name="connsiteX7" fmla="*/ 429957 w 3393714"/>
              <a:gd name="connsiteY7" fmla="*/ 1761996 h 2444833"/>
              <a:gd name="connsiteX8" fmla="*/ 318359 w 3393714"/>
              <a:gd name="connsiteY8" fmla="*/ 938886 h 2444833"/>
              <a:gd name="connsiteX0" fmla="*/ 318359 w 3393714"/>
              <a:gd name="connsiteY0" fmla="*/ 938886 h 2444833"/>
              <a:gd name="connsiteX1" fmla="*/ 1789134 w 3393714"/>
              <a:gd name="connsiteY1" fmla="*/ 127 h 2444833"/>
              <a:gd name="connsiteX2" fmla="*/ 3393710 w 3393714"/>
              <a:gd name="connsiteY2" fmla="*/ 1169663 h 2444833"/>
              <a:gd name="connsiteX3" fmla="*/ 2230504 w 3393714"/>
              <a:gd name="connsiteY3" fmla="*/ 2412812 h 2444833"/>
              <a:gd name="connsiteX4" fmla="*/ 1140594 w 3393714"/>
              <a:gd name="connsiteY4" fmla="*/ 2336383 h 2444833"/>
              <a:gd name="connsiteX5" fmla="*/ 788732 w 3393714"/>
              <a:gd name="connsiteY5" fmla="*/ 2146992 h 2444833"/>
              <a:gd name="connsiteX6" fmla="*/ 0 w 3393714"/>
              <a:gd name="connsiteY6" fmla="*/ 2305188 h 2444833"/>
              <a:gd name="connsiteX7" fmla="*/ 429957 w 3393714"/>
              <a:gd name="connsiteY7" fmla="*/ 1761996 h 2444833"/>
              <a:gd name="connsiteX8" fmla="*/ 318359 w 3393714"/>
              <a:gd name="connsiteY8" fmla="*/ 938886 h 2444833"/>
              <a:gd name="connsiteX0" fmla="*/ 318359 w 3393714"/>
              <a:gd name="connsiteY0" fmla="*/ 938886 h 2444833"/>
              <a:gd name="connsiteX1" fmla="*/ 1789134 w 3393714"/>
              <a:gd name="connsiteY1" fmla="*/ 127 h 2444833"/>
              <a:gd name="connsiteX2" fmla="*/ 3393710 w 3393714"/>
              <a:gd name="connsiteY2" fmla="*/ 1169663 h 2444833"/>
              <a:gd name="connsiteX3" fmla="*/ 2230504 w 3393714"/>
              <a:gd name="connsiteY3" fmla="*/ 2412812 h 2444833"/>
              <a:gd name="connsiteX4" fmla="*/ 1140594 w 3393714"/>
              <a:gd name="connsiteY4" fmla="*/ 2336383 h 2444833"/>
              <a:gd name="connsiteX5" fmla="*/ 788732 w 3393714"/>
              <a:gd name="connsiteY5" fmla="*/ 2146992 h 2444833"/>
              <a:gd name="connsiteX6" fmla="*/ 0 w 3393714"/>
              <a:gd name="connsiteY6" fmla="*/ 2305188 h 2444833"/>
              <a:gd name="connsiteX7" fmla="*/ 429957 w 3393714"/>
              <a:gd name="connsiteY7" fmla="*/ 1761996 h 2444833"/>
              <a:gd name="connsiteX8" fmla="*/ 318359 w 3393714"/>
              <a:gd name="connsiteY8" fmla="*/ 938886 h 2444833"/>
              <a:gd name="connsiteX0" fmla="*/ 318359 w 3393714"/>
              <a:gd name="connsiteY0" fmla="*/ 938886 h 2444833"/>
              <a:gd name="connsiteX1" fmla="*/ 1789134 w 3393714"/>
              <a:gd name="connsiteY1" fmla="*/ 127 h 2444833"/>
              <a:gd name="connsiteX2" fmla="*/ 3393710 w 3393714"/>
              <a:gd name="connsiteY2" fmla="*/ 1169663 h 2444833"/>
              <a:gd name="connsiteX3" fmla="*/ 2230504 w 3393714"/>
              <a:gd name="connsiteY3" fmla="*/ 2412812 h 2444833"/>
              <a:gd name="connsiteX4" fmla="*/ 1140594 w 3393714"/>
              <a:gd name="connsiteY4" fmla="*/ 2336383 h 2444833"/>
              <a:gd name="connsiteX5" fmla="*/ 788732 w 3393714"/>
              <a:gd name="connsiteY5" fmla="*/ 2146992 h 2444833"/>
              <a:gd name="connsiteX6" fmla="*/ 0 w 3393714"/>
              <a:gd name="connsiteY6" fmla="*/ 2305188 h 2444833"/>
              <a:gd name="connsiteX7" fmla="*/ 429957 w 3393714"/>
              <a:gd name="connsiteY7" fmla="*/ 1761996 h 2444833"/>
              <a:gd name="connsiteX8" fmla="*/ 293432 w 3393714"/>
              <a:gd name="connsiteY8" fmla="*/ 1402667 h 2444833"/>
              <a:gd name="connsiteX9" fmla="*/ 318359 w 3393714"/>
              <a:gd name="connsiteY9" fmla="*/ 938886 h 2444833"/>
              <a:gd name="connsiteX0" fmla="*/ 546959 w 3622314"/>
              <a:gd name="connsiteY0" fmla="*/ 938886 h 2444833"/>
              <a:gd name="connsiteX1" fmla="*/ 2017734 w 3622314"/>
              <a:gd name="connsiteY1" fmla="*/ 127 h 2444833"/>
              <a:gd name="connsiteX2" fmla="*/ 3622310 w 3622314"/>
              <a:gd name="connsiteY2" fmla="*/ 1169663 h 2444833"/>
              <a:gd name="connsiteX3" fmla="*/ 2459104 w 3622314"/>
              <a:gd name="connsiteY3" fmla="*/ 2412812 h 2444833"/>
              <a:gd name="connsiteX4" fmla="*/ 1369194 w 3622314"/>
              <a:gd name="connsiteY4" fmla="*/ 2336383 h 2444833"/>
              <a:gd name="connsiteX5" fmla="*/ 1017332 w 3622314"/>
              <a:gd name="connsiteY5" fmla="*/ 2146992 h 2444833"/>
              <a:gd name="connsiteX6" fmla="*/ 0 w 3622314"/>
              <a:gd name="connsiteY6" fmla="*/ 1801486 h 2444833"/>
              <a:gd name="connsiteX7" fmla="*/ 658557 w 3622314"/>
              <a:gd name="connsiteY7" fmla="*/ 1761996 h 2444833"/>
              <a:gd name="connsiteX8" fmla="*/ 522032 w 3622314"/>
              <a:gd name="connsiteY8" fmla="*/ 1402667 h 2444833"/>
              <a:gd name="connsiteX9" fmla="*/ 546959 w 3622314"/>
              <a:gd name="connsiteY9" fmla="*/ 938886 h 2444833"/>
              <a:gd name="connsiteX0" fmla="*/ 546959 w 3622314"/>
              <a:gd name="connsiteY0" fmla="*/ 938886 h 2444833"/>
              <a:gd name="connsiteX1" fmla="*/ 2017734 w 3622314"/>
              <a:gd name="connsiteY1" fmla="*/ 127 h 2444833"/>
              <a:gd name="connsiteX2" fmla="*/ 3622310 w 3622314"/>
              <a:gd name="connsiteY2" fmla="*/ 1169663 h 2444833"/>
              <a:gd name="connsiteX3" fmla="*/ 2459104 w 3622314"/>
              <a:gd name="connsiteY3" fmla="*/ 2412812 h 2444833"/>
              <a:gd name="connsiteX4" fmla="*/ 1369194 w 3622314"/>
              <a:gd name="connsiteY4" fmla="*/ 2336383 h 2444833"/>
              <a:gd name="connsiteX5" fmla="*/ 1017332 w 3622314"/>
              <a:gd name="connsiteY5" fmla="*/ 2146992 h 2444833"/>
              <a:gd name="connsiteX6" fmla="*/ 0 w 3622314"/>
              <a:gd name="connsiteY6" fmla="*/ 1801486 h 2444833"/>
              <a:gd name="connsiteX7" fmla="*/ 522032 w 3622314"/>
              <a:gd name="connsiteY7" fmla="*/ 1402667 h 2444833"/>
              <a:gd name="connsiteX8" fmla="*/ 546959 w 3622314"/>
              <a:gd name="connsiteY8" fmla="*/ 938886 h 2444833"/>
              <a:gd name="connsiteX0" fmla="*/ 546959 w 3622314"/>
              <a:gd name="connsiteY0" fmla="*/ 938886 h 2444833"/>
              <a:gd name="connsiteX1" fmla="*/ 2017734 w 3622314"/>
              <a:gd name="connsiteY1" fmla="*/ 127 h 2444833"/>
              <a:gd name="connsiteX2" fmla="*/ 3622310 w 3622314"/>
              <a:gd name="connsiteY2" fmla="*/ 1169663 h 2444833"/>
              <a:gd name="connsiteX3" fmla="*/ 2459104 w 3622314"/>
              <a:gd name="connsiteY3" fmla="*/ 2412812 h 2444833"/>
              <a:gd name="connsiteX4" fmla="*/ 1369194 w 3622314"/>
              <a:gd name="connsiteY4" fmla="*/ 2336383 h 2444833"/>
              <a:gd name="connsiteX5" fmla="*/ 718882 w 3622314"/>
              <a:gd name="connsiteY5" fmla="*/ 1855037 h 2444833"/>
              <a:gd name="connsiteX6" fmla="*/ 0 w 3622314"/>
              <a:gd name="connsiteY6" fmla="*/ 1801486 h 2444833"/>
              <a:gd name="connsiteX7" fmla="*/ 522032 w 3622314"/>
              <a:gd name="connsiteY7" fmla="*/ 1402667 h 2444833"/>
              <a:gd name="connsiteX8" fmla="*/ 546959 w 3622314"/>
              <a:gd name="connsiteY8" fmla="*/ 938886 h 2444833"/>
              <a:gd name="connsiteX0" fmla="*/ 546959 w 3622314"/>
              <a:gd name="connsiteY0" fmla="*/ 938886 h 2444833"/>
              <a:gd name="connsiteX1" fmla="*/ 2017734 w 3622314"/>
              <a:gd name="connsiteY1" fmla="*/ 127 h 2444833"/>
              <a:gd name="connsiteX2" fmla="*/ 3622310 w 3622314"/>
              <a:gd name="connsiteY2" fmla="*/ 1169663 h 2444833"/>
              <a:gd name="connsiteX3" fmla="*/ 2459104 w 3622314"/>
              <a:gd name="connsiteY3" fmla="*/ 2412812 h 2444833"/>
              <a:gd name="connsiteX4" fmla="*/ 1369194 w 3622314"/>
              <a:gd name="connsiteY4" fmla="*/ 2336383 h 2444833"/>
              <a:gd name="connsiteX5" fmla="*/ 718882 w 3622314"/>
              <a:gd name="connsiteY5" fmla="*/ 1855037 h 2444833"/>
              <a:gd name="connsiteX6" fmla="*/ 0 w 3622314"/>
              <a:gd name="connsiteY6" fmla="*/ 1801486 h 2444833"/>
              <a:gd name="connsiteX7" fmla="*/ 522032 w 3622314"/>
              <a:gd name="connsiteY7" fmla="*/ 1402667 h 2444833"/>
              <a:gd name="connsiteX8" fmla="*/ 546959 w 3622314"/>
              <a:gd name="connsiteY8" fmla="*/ 938886 h 2444833"/>
              <a:gd name="connsiteX0" fmla="*/ 546959 w 3622314"/>
              <a:gd name="connsiteY0" fmla="*/ 938886 h 2449808"/>
              <a:gd name="connsiteX1" fmla="*/ 2017734 w 3622314"/>
              <a:gd name="connsiteY1" fmla="*/ 127 h 2449808"/>
              <a:gd name="connsiteX2" fmla="*/ 3622310 w 3622314"/>
              <a:gd name="connsiteY2" fmla="*/ 1169663 h 2449808"/>
              <a:gd name="connsiteX3" fmla="*/ 2459104 w 3622314"/>
              <a:gd name="connsiteY3" fmla="*/ 2412812 h 2449808"/>
              <a:gd name="connsiteX4" fmla="*/ 1369194 w 3622314"/>
              <a:gd name="connsiteY4" fmla="*/ 2336383 h 2449808"/>
              <a:gd name="connsiteX5" fmla="*/ 718882 w 3622314"/>
              <a:gd name="connsiteY5" fmla="*/ 1855037 h 2449808"/>
              <a:gd name="connsiteX6" fmla="*/ 0 w 3622314"/>
              <a:gd name="connsiteY6" fmla="*/ 1801486 h 2449808"/>
              <a:gd name="connsiteX7" fmla="*/ 522032 w 3622314"/>
              <a:gd name="connsiteY7" fmla="*/ 1402667 h 2449808"/>
              <a:gd name="connsiteX8" fmla="*/ 546959 w 3622314"/>
              <a:gd name="connsiteY8" fmla="*/ 938886 h 2449808"/>
              <a:gd name="connsiteX0" fmla="*/ 546959 w 3622314"/>
              <a:gd name="connsiteY0" fmla="*/ 938886 h 2449808"/>
              <a:gd name="connsiteX1" fmla="*/ 2017734 w 3622314"/>
              <a:gd name="connsiteY1" fmla="*/ 127 h 2449808"/>
              <a:gd name="connsiteX2" fmla="*/ 3622310 w 3622314"/>
              <a:gd name="connsiteY2" fmla="*/ 1169663 h 2449808"/>
              <a:gd name="connsiteX3" fmla="*/ 2459104 w 3622314"/>
              <a:gd name="connsiteY3" fmla="*/ 2412812 h 2449808"/>
              <a:gd name="connsiteX4" fmla="*/ 1369194 w 3622314"/>
              <a:gd name="connsiteY4" fmla="*/ 2336383 h 2449808"/>
              <a:gd name="connsiteX5" fmla="*/ 718882 w 3622314"/>
              <a:gd name="connsiteY5" fmla="*/ 1855037 h 2449808"/>
              <a:gd name="connsiteX6" fmla="*/ 0 w 3622314"/>
              <a:gd name="connsiteY6" fmla="*/ 1801486 h 2449808"/>
              <a:gd name="connsiteX7" fmla="*/ 522032 w 3622314"/>
              <a:gd name="connsiteY7" fmla="*/ 1402667 h 2449808"/>
              <a:gd name="connsiteX8" fmla="*/ 546959 w 3622314"/>
              <a:gd name="connsiteY8" fmla="*/ 938886 h 2449808"/>
              <a:gd name="connsiteX0" fmla="*/ 546959 w 3622314"/>
              <a:gd name="connsiteY0" fmla="*/ 938886 h 2449201"/>
              <a:gd name="connsiteX1" fmla="*/ 2017734 w 3622314"/>
              <a:gd name="connsiteY1" fmla="*/ 127 h 2449201"/>
              <a:gd name="connsiteX2" fmla="*/ 3622310 w 3622314"/>
              <a:gd name="connsiteY2" fmla="*/ 1169663 h 2449201"/>
              <a:gd name="connsiteX3" fmla="*/ 2459104 w 3622314"/>
              <a:gd name="connsiteY3" fmla="*/ 2412812 h 2449201"/>
              <a:gd name="connsiteX4" fmla="*/ 1369194 w 3622314"/>
              <a:gd name="connsiteY4" fmla="*/ 2336383 h 2449201"/>
              <a:gd name="connsiteX5" fmla="*/ 718882 w 3622314"/>
              <a:gd name="connsiteY5" fmla="*/ 1855037 h 2449201"/>
              <a:gd name="connsiteX6" fmla="*/ 0 w 3622314"/>
              <a:gd name="connsiteY6" fmla="*/ 1801486 h 2449201"/>
              <a:gd name="connsiteX7" fmla="*/ 522032 w 3622314"/>
              <a:gd name="connsiteY7" fmla="*/ 1402667 h 2449201"/>
              <a:gd name="connsiteX8" fmla="*/ 546959 w 3622314"/>
              <a:gd name="connsiteY8" fmla="*/ 938886 h 2449201"/>
              <a:gd name="connsiteX0" fmla="*/ 546959 w 3622314"/>
              <a:gd name="connsiteY0" fmla="*/ 938886 h 2451363"/>
              <a:gd name="connsiteX1" fmla="*/ 2017734 w 3622314"/>
              <a:gd name="connsiteY1" fmla="*/ 127 h 2451363"/>
              <a:gd name="connsiteX2" fmla="*/ 3622310 w 3622314"/>
              <a:gd name="connsiteY2" fmla="*/ 1169663 h 2451363"/>
              <a:gd name="connsiteX3" fmla="*/ 2459104 w 3622314"/>
              <a:gd name="connsiteY3" fmla="*/ 2412812 h 2451363"/>
              <a:gd name="connsiteX4" fmla="*/ 1391419 w 3622314"/>
              <a:gd name="connsiteY4" fmla="*/ 2346008 h 2451363"/>
              <a:gd name="connsiteX5" fmla="*/ 718882 w 3622314"/>
              <a:gd name="connsiteY5" fmla="*/ 1855037 h 2451363"/>
              <a:gd name="connsiteX6" fmla="*/ 0 w 3622314"/>
              <a:gd name="connsiteY6" fmla="*/ 1801486 h 2451363"/>
              <a:gd name="connsiteX7" fmla="*/ 522032 w 3622314"/>
              <a:gd name="connsiteY7" fmla="*/ 1402667 h 2451363"/>
              <a:gd name="connsiteX8" fmla="*/ 546959 w 3622314"/>
              <a:gd name="connsiteY8" fmla="*/ 938886 h 2451363"/>
              <a:gd name="connsiteX0" fmla="*/ 546959 w 3622314"/>
              <a:gd name="connsiteY0" fmla="*/ 938886 h 2451363"/>
              <a:gd name="connsiteX1" fmla="*/ 2017734 w 3622314"/>
              <a:gd name="connsiteY1" fmla="*/ 127 h 2451363"/>
              <a:gd name="connsiteX2" fmla="*/ 3622310 w 3622314"/>
              <a:gd name="connsiteY2" fmla="*/ 1169663 h 2451363"/>
              <a:gd name="connsiteX3" fmla="*/ 2459104 w 3622314"/>
              <a:gd name="connsiteY3" fmla="*/ 2412812 h 2451363"/>
              <a:gd name="connsiteX4" fmla="*/ 1391419 w 3622314"/>
              <a:gd name="connsiteY4" fmla="*/ 2346008 h 2451363"/>
              <a:gd name="connsiteX5" fmla="*/ 718882 w 3622314"/>
              <a:gd name="connsiteY5" fmla="*/ 1855037 h 2451363"/>
              <a:gd name="connsiteX6" fmla="*/ 0 w 3622314"/>
              <a:gd name="connsiteY6" fmla="*/ 1801486 h 2451363"/>
              <a:gd name="connsiteX7" fmla="*/ 522032 w 3622314"/>
              <a:gd name="connsiteY7" fmla="*/ 1402667 h 2451363"/>
              <a:gd name="connsiteX8" fmla="*/ 546959 w 3622314"/>
              <a:gd name="connsiteY8" fmla="*/ 938886 h 2451363"/>
              <a:gd name="connsiteX0" fmla="*/ 546959 w 3622314"/>
              <a:gd name="connsiteY0" fmla="*/ 938886 h 2451363"/>
              <a:gd name="connsiteX1" fmla="*/ 2017734 w 3622314"/>
              <a:gd name="connsiteY1" fmla="*/ 127 h 2451363"/>
              <a:gd name="connsiteX2" fmla="*/ 3622310 w 3622314"/>
              <a:gd name="connsiteY2" fmla="*/ 1169663 h 2451363"/>
              <a:gd name="connsiteX3" fmla="*/ 2459104 w 3622314"/>
              <a:gd name="connsiteY3" fmla="*/ 2412812 h 2451363"/>
              <a:gd name="connsiteX4" fmla="*/ 1391419 w 3622314"/>
              <a:gd name="connsiteY4" fmla="*/ 2346008 h 2451363"/>
              <a:gd name="connsiteX5" fmla="*/ 718882 w 3622314"/>
              <a:gd name="connsiteY5" fmla="*/ 1855037 h 2451363"/>
              <a:gd name="connsiteX6" fmla="*/ 0 w 3622314"/>
              <a:gd name="connsiteY6" fmla="*/ 1801486 h 2451363"/>
              <a:gd name="connsiteX7" fmla="*/ 522032 w 3622314"/>
              <a:gd name="connsiteY7" fmla="*/ 1402667 h 2451363"/>
              <a:gd name="connsiteX8" fmla="*/ 546959 w 3622314"/>
              <a:gd name="connsiteY8" fmla="*/ 938886 h 2451363"/>
              <a:gd name="connsiteX0" fmla="*/ 546959 w 3622314"/>
              <a:gd name="connsiteY0" fmla="*/ 938873 h 2451350"/>
              <a:gd name="connsiteX1" fmla="*/ 2017734 w 3622314"/>
              <a:gd name="connsiteY1" fmla="*/ 114 h 2451350"/>
              <a:gd name="connsiteX2" fmla="*/ 3622310 w 3622314"/>
              <a:gd name="connsiteY2" fmla="*/ 1169650 h 2451350"/>
              <a:gd name="connsiteX3" fmla="*/ 2459104 w 3622314"/>
              <a:gd name="connsiteY3" fmla="*/ 2412799 h 2451350"/>
              <a:gd name="connsiteX4" fmla="*/ 1391419 w 3622314"/>
              <a:gd name="connsiteY4" fmla="*/ 2345995 h 2451350"/>
              <a:gd name="connsiteX5" fmla="*/ 718882 w 3622314"/>
              <a:gd name="connsiteY5" fmla="*/ 1855024 h 2451350"/>
              <a:gd name="connsiteX6" fmla="*/ 0 w 3622314"/>
              <a:gd name="connsiteY6" fmla="*/ 1801473 h 2451350"/>
              <a:gd name="connsiteX7" fmla="*/ 522032 w 3622314"/>
              <a:gd name="connsiteY7" fmla="*/ 1402654 h 2451350"/>
              <a:gd name="connsiteX8" fmla="*/ 546959 w 3622314"/>
              <a:gd name="connsiteY8" fmla="*/ 938873 h 245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22314" h="2451350">
                <a:moveTo>
                  <a:pt x="546959" y="938873"/>
                </a:moveTo>
                <a:cubicBezTo>
                  <a:pt x="723909" y="375402"/>
                  <a:pt x="1395639" y="10864"/>
                  <a:pt x="2017734" y="114"/>
                </a:cubicBezTo>
                <a:cubicBezTo>
                  <a:pt x="2554104" y="-7461"/>
                  <a:pt x="3609073" y="363123"/>
                  <a:pt x="3622310" y="1169650"/>
                </a:cubicBezTo>
                <a:cubicBezTo>
                  <a:pt x="3624435" y="2044839"/>
                  <a:pt x="2854732" y="2319682"/>
                  <a:pt x="2459104" y="2412799"/>
                </a:cubicBezTo>
                <a:cubicBezTo>
                  <a:pt x="2079351" y="2499566"/>
                  <a:pt x="1624203" y="2423416"/>
                  <a:pt x="1391419" y="2345995"/>
                </a:cubicBezTo>
                <a:cubicBezTo>
                  <a:pt x="1216982" y="2289281"/>
                  <a:pt x="871094" y="2081777"/>
                  <a:pt x="718882" y="1855024"/>
                </a:cubicBezTo>
                <a:lnTo>
                  <a:pt x="0" y="1801473"/>
                </a:lnTo>
                <a:lnTo>
                  <a:pt x="522032" y="1402654"/>
                </a:lnTo>
                <a:cubicBezTo>
                  <a:pt x="503432" y="1265469"/>
                  <a:pt x="491350" y="1169422"/>
                  <a:pt x="546959" y="938873"/>
                </a:cubicBezTo>
                <a:close/>
              </a:path>
            </a:pathLst>
          </a:custGeom>
          <a:solidFill>
            <a:srgbClr val="F9DD9F">
              <a:alpha val="70000"/>
            </a:srgbClr>
          </a:solidFill>
          <a:ln w="1270">
            <a:noFill/>
          </a:ln>
        </p:spPr>
        <p:txBody>
          <a:bodyPr lIns="1044000" rIns="180000" anchor="ctr" anchorCtr="0"/>
          <a:lstStyle>
            <a:lvl1pPr marL="0" indent="0" algn="l">
              <a:buNone/>
              <a:defRPr sz="1800">
                <a:solidFill>
                  <a:srgbClr val="32A2B8"/>
                </a:solidFill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62155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isällön paikkamerkki 19">
            <a:extLst>
              <a:ext uri="{FF2B5EF4-FFF2-40B4-BE49-F238E27FC236}">
                <a16:creationId xmlns:a16="http://schemas.microsoft.com/office/drawing/2014/main" id="{97949034-E3D7-4696-AC51-1CB17201212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6800" y="4561200"/>
            <a:ext cx="10490400" cy="1435100"/>
          </a:xfrm>
          <a:solidFill>
            <a:srgbClr val="32A2B8"/>
          </a:solidFill>
        </p:spPr>
        <p:txBody>
          <a:bodyPr lIns="162000" tIns="108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0" y="1800000"/>
            <a:ext cx="10623600" cy="2327500"/>
          </a:xfrm>
        </p:spPr>
        <p:txBody>
          <a:bodyPr/>
          <a:lstStyle>
            <a:lvl1pPr>
              <a:lnSpc>
                <a:spcPct val="95000"/>
              </a:lnSpc>
              <a:defRPr/>
            </a:lvl1pPr>
            <a:lvl2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1" name="Päivämäärän paikkamerkki 26">
            <a:extLst>
              <a:ext uri="{FF2B5EF4-FFF2-40B4-BE49-F238E27FC236}">
                <a16:creationId xmlns:a16="http://schemas.microsoft.com/office/drawing/2014/main" id="{6BB542C8-E220-EB4C-8545-A0751924BD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CA019DC-0B83-4CB8-A138-887B2617AA2C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2" name="Alatunnisteen paikkamerkki 32">
            <a:extLst>
              <a:ext uri="{FF2B5EF4-FFF2-40B4-BE49-F238E27FC236}">
                <a16:creationId xmlns:a16="http://schemas.microsoft.com/office/drawing/2014/main" id="{09B8C90C-0455-6844-953E-14308BA2FF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3" name="Dian numeron paikkamerkki 33">
            <a:extLst>
              <a:ext uri="{FF2B5EF4-FFF2-40B4-BE49-F238E27FC236}">
                <a16:creationId xmlns:a16="http://schemas.microsoft.com/office/drawing/2014/main" id="{EE001769-63BE-BF4C-839E-D88A79584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81759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dia">
    <p:bg>
      <p:bgPr>
        <a:solidFill>
          <a:srgbClr val="32A2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48FE948-F9AF-9F4F-AAA0-35AD5CBB6B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7665" y="2049221"/>
            <a:ext cx="9144000" cy="2387600"/>
          </a:xfrm>
        </p:spPr>
        <p:txBody>
          <a:bodyPr anchor="b">
            <a:normAutofit/>
          </a:bodyPr>
          <a:lstStyle>
            <a:lvl1pPr algn="l">
              <a:defRPr sz="4401" b="1" i="0" cap="none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i-FI" noProof="0" dirty="0"/>
              <a:t>Väliotsikkokalvo </a:t>
            </a:r>
          </a:p>
        </p:txBody>
      </p:sp>
      <p:pic>
        <p:nvPicPr>
          <p:cNvPr id="15" name="Kuva 17">
            <a:extLst>
              <a:ext uri="{FF2B5EF4-FFF2-40B4-BE49-F238E27FC236}">
                <a16:creationId xmlns:a16="http://schemas.microsoft.com/office/drawing/2014/main" id="{CA3F4F67-0BD0-F249-8679-0A1DB4EAD8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0735" b="26230"/>
          <a:stretch/>
        </p:blipFill>
        <p:spPr>
          <a:xfrm>
            <a:off x="10717077" y="233224"/>
            <a:ext cx="1252965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247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isällön paikkamerkki 19">
            <a:extLst>
              <a:ext uri="{FF2B5EF4-FFF2-40B4-BE49-F238E27FC236}">
                <a16:creationId xmlns:a16="http://schemas.microsoft.com/office/drawing/2014/main" id="{97949034-E3D7-4696-AC51-1CB17201212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6800" y="4561200"/>
            <a:ext cx="10490400" cy="1435100"/>
          </a:xfrm>
          <a:solidFill>
            <a:srgbClr val="EEF2F5"/>
          </a:solidFill>
        </p:spPr>
        <p:txBody>
          <a:bodyPr lIns="162000" tIns="108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0" y="1800000"/>
            <a:ext cx="10623600" cy="2327500"/>
          </a:xfrm>
        </p:spPr>
        <p:txBody>
          <a:bodyPr/>
          <a:lstStyle>
            <a:lvl1pPr>
              <a:lnSpc>
                <a:spcPct val="95000"/>
              </a:lnSpc>
              <a:defRPr/>
            </a:lvl1pPr>
            <a:lvl2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1" name="Päivämäärän paikkamerkki 26">
            <a:extLst>
              <a:ext uri="{FF2B5EF4-FFF2-40B4-BE49-F238E27FC236}">
                <a16:creationId xmlns:a16="http://schemas.microsoft.com/office/drawing/2014/main" id="{6BB542C8-E220-EB4C-8545-A0751924BD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008AC1C-4A1A-4156-B54D-FD4B46188898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2" name="Alatunnisteen paikkamerkki 32">
            <a:extLst>
              <a:ext uri="{FF2B5EF4-FFF2-40B4-BE49-F238E27FC236}">
                <a16:creationId xmlns:a16="http://schemas.microsoft.com/office/drawing/2014/main" id="{09B8C90C-0455-6844-953E-14308BA2FF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3" name="Dian numeron paikkamerkki 33">
            <a:extLst>
              <a:ext uri="{FF2B5EF4-FFF2-40B4-BE49-F238E27FC236}">
                <a16:creationId xmlns:a16="http://schemas.microsoft.com/office/drawing/2014/main" id="{EE001769-63BE-BF4C-839E-D88A79584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585143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isällön paikkamerkki 19">
            <a:extLst>
              <a:ext uri="{FF2B5EF4-FFF2-40B4-BE49-F238E27FC236}">
                <a16:creationId xmlns:a16="http://schemas.microsoft.com/office/drawing/2014/main" id="{97949034-E3D7-4696-AC51-1CB17201212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6800" y="4561200"/>
            <a:ext cx="10490400" cy="1435100"/>
          </a:xfrm>
          <a:solidFill>
            <a:srgbClr val="F2F2F2"/>
          </a:solidFill>
        </p:spPr>
        <p:txBody>
          <a:bodyPr lIns="162000" tIns="108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0" y="1800000"/>
            <a:ext cx="10623600" cy="2327500"/>
          </a:xfrm>
        </p:spPr>
        <p:txBody>
          <a:bodyPr/>
          <a:lstStyle>
            <a:lvl1pPr>
              <a:lnSpc>
                <a:spcPct val="95000"/>
              </a:lnSpc>
              <a:defRPr/>
            </a:lvl1pPr>
            <a:lvl2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1" name="Päivämäärän paikkamerkki 26">
            <a:extLst>
              <a:ext uri="{FF2B5EF4-FFF2-40B4-BE49-F238E27FC236}">
                <a16:creationId xmlns:a16="http://schemas.microsoft.com/office/drawing/2014/main" id="{6BB542C8-E220-EB4C-8545-A0751924BD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31D24DD-343B-410D-861C-C34DD2E7C97B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2" name="Alatunnisteen paikkamerkki 32">
            <a:extLst>
              <a:ext uri="{FF2B5EF4-FFF2-40B4-BE49-F238E27FC236}">
                <a16:creationId xmlns:a16="http://schemas.microsoft.com/office/drawing/2014/main" id="{09B8C90C-0455-6844-953E-14308BA2FF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3" name="Dian numeron paikkamerkki 33">
            <a:extLst>
              <a:ext uri="{FF2B5EF4-FFF2-40B4-BE49-F238E27FC236}">
                <a16:creationId xmlns:a16="http://schemas.microsoft.com/office/drawing/2014/main" id="{EE001769-63BE-BF4C-839E-D88A79584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225896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isällön paikkamerkki 19">
            <a:extLst>
              <a:ext uri="{FF2B5EF4-FFF2-40B4-BE49-F238E27FC236}">
                <a16:creationId xmlns:a16="http://schemas.microsoft.com/office/drawing/2014/main" id="{97949034-E3D7-4696-AC51-1CB17201212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6800" y="4561200"/>
            <a:ext cx="10490400" cy="1435100"/>
          </a:xfrm>
          <a:solidFill>
            <a:srgbClr val="FBEBC5"/>
          </a:solidFill>
        </p:spPr>
        <p:txBody>
          <a:bodyPr lIns="162000" tIns="108000" rIns="72000" bIns="72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0" y="1800000"/>
            <a:ext cx="10623600" cy="2327500"/>
          </a:xfrm>
        </p:spPr>
        <p:txBody>
          <a:bodyPr/>
          <a:lstStyle>
            <a:lvl1pPr>
              <a:lnSpc>
                <a:spcPct val="95000"/>
              </a:lnSpc>
              <a:defRPr/>
            </a:lvl1pPr>
            <a:lvl2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5000"/>
              </a:lnSpc>
              <a:defRPr b="0" i="1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1" name="Päivämäärän paikkamerkki 26">
            <a:extLst>
              <a:ext uri="{FF2B5EF4-FFF2-40B4-BE49-F238E27FC236}">
                <a16:creationId xmlns:a16="http://schemas.microsoft.com/office/drawing/2014/main" id="{6BB542C8-E220-EB4C-8545-A0751924BD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73DD52-E25B-4E38-9799-0D240073AE51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2" name="Alatunnisteen paikkamerkki 32">
            <a:extLst>
              <a:ext uri="{FF2B5EF4-FFF2-40B4-BE49-F238E27FC236}">
                <a16:creationId xmlns:a16="http://schemas.microsoft.com/office/drawing/2014/main" id="{09B8C90C-0455-6844-953E-14308BA2FF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3" name="Dian numeron paikkamerkki 33">
            <a:extLst>
              <a:ext uri="{FF2B5EF4-FFF2-40B4-BE49-F238E27FC236}">
                <a16:creationId xmlns:a16="http://schemas.microsoft.com/office/drawing/2014/main" id="{EE001769-63BE-BF4C-839E-D88A79584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935570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4" y="1801092"/>
            <a:ext cx="5243039" cy="4161600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Sisällön paikkamerkki 5">
            <a:extLst>
              <a:ext uri="{FF2B5EF4-FFF2-40B4-BE49-F238E27FC236}">
                <a16:creationId xmlns:a16="http://schemas.microsoft.com/office/drawing/2014/main" id="{E63EE8E8-1A60-473D-8CC6-075BC7D543D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07994" y="1801092"/>
            <a:ext cx="5243039" cy="4161600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1" name="Päivämäärän paikkamerkki 26">
            <a:extLst>
              <a:ext uri="{FF2B5EF4-FFF2-40B4-BE49-F238E27FC236}">
                <a16:creationId xmlns:a16="http://schemas.microsoft.com/office/drawing/2014/main" id="{0A7CC297-2464-0F4C-88EE-6D8145B84D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AA3B418-A8C8-4F9E-AA2C-EA089B19FA3A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2" name="Alatunnisteen paikkamerkki 32">
            <a:extLst>
              <a:ext uri="{FF2B5EF4-FFF2-40B4-BE49-F238E27FC236}">
                <a16:creationId xmlns:a16="http://schemas.microsoft.com/office/drawing/2014/main" id="{A8AACD6A-6F0F-414A-9AFC-85593BA2C3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3" name="Dian numeron paikkamerkki 33">
            <a:extLst>
              <a:ext uri="{FF2B5EF4-FFF2-40B4-BE49-F238E27FC236}">
                <a16:creationId xmlns:a16="http://schemas.microsoft.com/office/drawing/2014/main" id="{D75BAAAA-2306-AB42-BA23-638C2E356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496369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4" y="1801092"/>
            <a:ext cx="5243039" cy="4161600"/>
          </a:xfrm>
        </p:spPr>
        <p:txBody>
          <a:bodyPr tIns="180000"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Sisällön paikkamerkki 5">
            <a:extLst>
              <a:ext uri="{FF2B5EF4-FFF2-40B4-BE49-F238E27FC236}">
                <a16:creationId xmlns:a16="http://schemas.microsoft.com/office/drawing/2014/main" id="{E63EE8E8-1A60-473D-8CC6-075BC7D543D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86588" y="1801092"/>
            <a:ext cx="5243039" cy="4161600"/>
          </a:xfrm>
          <a:solidFill>
            <a:srgbClr val="E7EFEB"/>
          </a:solidFill>
        </p:spPr>
        <p:txBody>
          <a:bodyPr tIns="180000"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1" name="Päivämäärän paikkamerkki 26">
            <a:extLst>
              <a:ext uri="{FF2B5EF4-FFF2-40B4-BE49-F238E27FC236}">
                <a16:creationId xmlns:a16="http://schemas.microsoft.com/office/drawing/2014/main" id="{0A7CC297-2464-0F4C-88EE-6D8145B84D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C87074E7-5392-4CE1-8C89-3BDC6EF7E7DA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2" name="Alatunnisteen paikkamerkki 32">
            <a:extLst>
              <a:ext uri="{FF2B5EF4-FFF2-40B4-BE49-F238E27FC236}">
                <a16:creationId xmlns:a16="http://schemas.microsoft.com/office/drawing/2014/main" id="{A8AACD6A-6F0F-414A-9AFC-85593BA2C3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3" name="Dian numeron paikkamerkki 33">
            <a:extLst>
              <a:ext uri="{FF2B5EF4-FFF2-40B4-BE49-F238E27FC236}">
                <a16:creationId xmlns:a16="http://schemas.microsoft.com/office/drawing/2014/main" id="{D75BAAAA-2306-AB42-BA23-638C2E356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228186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4" y="1801092"/>
            <a:ext cx="5243039" cy="4161600"/>
          </a:xfrm>
        </p:spPr>
        <p:txBody>
          <a:bodyPr tIns="180000"/>
          <a:lstStyle>
            <a:lvl1pPr marL="0" indent="0">
              <a:lnSpc>
                <a:spcPct val="95000"/>
              </a:lnSpc>
              <a:buFontTx/>
              <a:buNone/>
              <a:defRPr sz="2000"/>
            </a:lvl1pPr>
            <a:lvl2pPr marL="531827" indent="0">
              <a:lnSpc>
                <a:spcPct val="95000"/>
              </a:lnSpc>
              <a:buFontTx/>
              <a:buNone/>
              <a:defRPr sz="2000"/>
            </a:lvl2pPr>
            <a:lvl3pPr marL="723921" indent="0">
              <a:lnSpc>
                <a:spcPct val="95000"/>
              </a:lnSpc>
              <a:buFontTx/>
              <a:buNone/>
              <a:defRPr sz="2000"/>
            </a:lvl3pPr>
            <a:lvl4pPr marL="892200" indent="0">
              <a:lnSpc>
                <a:spcPct val="95000"/>
              </a:lnSpc>
              <a:buFontTx/>
              <a:buNone/>
              <a:defRPr sz="2000"/>
            </a:lvl4pPr>
            <a:lvl5pPr marL="1077943" indent="0">
              <a:lnSpc>
                <a:spcPct val="95000"/>
              </a:lnSpc>
              <a:buFontTx/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Sisällön paikkamerkki 5">
            <a:extLst>
              <a:ext uri="{FF2B5EF4-FFF2-40B4-BE49-F238E27FC236}">
                <a16:creationId xmlns:a16="http://schemas.microsoft.com/office/drawing/2014/main" id="{E63EE8E8-1A60-473D-8CC6-075BC7D543D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86588" y="1801092"/>
            <a:ext cx="5243039" cy="4161600"/>
          </a:xfrm>
          <a:solidFill>
            <a:srgbClr val="E7EFEB"/>
          </a:solidFill>
        </p:spPr>
        <p:txBody>
          <a:bodyPr lIns="251999" tIns="180000"/>
          <a:lstStyle>
            <a:lvl1pPr marL="0" indent="0">
              <a:lnSpc>
                <a:spcPct val="95000"/>
              </a:lnSpc>
              <a:buFontTx/>
              <a:buNone/>
              <a:defRPr sz="2000">
                <a:solidFill>
                  <a:schemeClr val="bg2"/>
                </a:solidFill>
              </a:defRPr>
            </a:lvl1pPr>
            <a:lvl2pPr marL="531827" indent="0">
              <a:lnSpc>
                <a:spcPct val="95000"/>
              </a:lnSpc>
              <a:buFontTx/>
              <a:buNone/>
              <a:defRPr sz="2000">
                <a:solidFill>
                  <a:schemeClr val="bg2"/>
                </a:solidFill>
              </a:defRPr>
            </a:lvl2pPr>
            <a:lvl3pPr marL="723921" indent="0">
              <a:lnSpc>
                <a:spcPct val="95000"/>
              </a:lnSpc>
              <a:buFontTx/>
              <a:buNone/>
              <a:defRPr sz="2000">
                <a:solidFill>
                  <a:schemeClr val="bg2"/>
                </a:solidFill>
              </a:defRPr>
            </a:lvl3pPr>
            <a:lvl4pPr marL="892200" indent="0">
              <a:lnSpc>
                <a:spcPct val="95000"/>
              </a:lnSpc>
              <a:buFontTx/>
              <a:buNone/>
              <a:defRPr sz="2000">
                <a:solidFill>
                  <a:schemeClr val="bg2"/>
                </a:solidFill>
              </a:defRPr>
            </a:lvl4pPr>
            <a:lvl5pPr marL="1077943" indent="0">
              <a:lnSpc>
                <a:spcPct val="95000"/>
              </a:lnSpc>
              <a:buFontTx/>
              <a:buNone/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1" name="Päivämäärän paikkamerkki 26">
            <a:extLst>
              <a:ext uri="{FF2B5EF4-FFF2-40B4-BE49-F238E27FC236}">
                <a16:creationId xmlns:a16="http://schemas.microsoft.com/office/drawing/2014/main" id="{0A7CC297-2464-0F4C-88EE-6D8145B84D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3E6C019-8A30-46CE-B323-2BBFC77CF525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2" name="Alatunnisteen paikkamerkki 32">
            <a:extLst>
              <a:ext uri="{FF2B5EF4-FFF2-40B4-BE49-F238E27FC236}">
                <a16:creationId xmlns:a16="http://schemas.microsoft.com/office/drawing/2014/main" id="{A8AACD6A-6F0F-414A-9AFC-85593BA2C3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3" name="Dian numeron paikkamerkki 33">
            <a:extLst>
              <a:ext uri="{FF2B5EF4-FFF2-40B4-BE49-F238E27FC236}">
                <a16:creationId xmlns:a16="http://schemas.microsoft.com/office/drawing/2014/main" id="{D75BAAAA-2306-AB42-BA23-638C2E356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51186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6B915C02-B976-48D6-B328-127C64160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1050" y="1800000"/>
            <a:ext cx="3238154" cy="62206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kstin paikkamerkki 9">
            <a:extLst>
              <a:ext uri="{FF2B5EF4-FFF2-40B4-BE49-F238E27FC236}">
                <a16:creationId xmlns:a16="http://schemas.microsoft.com/office/drawing/2014/main" id="{35B60E41-F74D-4F5B-A840-ED1FA24078D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97581" y="1800001"/>
            <a:ext cx="3238154" cy="62206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kstin paikkamerkki 9">
            <a:extLst>
              <a:ext uri="{FF2B5EF4-FFF2-40B4-BE49-F238E27FC236}">
                <a16:creationId xmlns:a16="http://schemas.microsoft.com/office/drawing/2014/main" id="{4602BD37-4B91-4065-B386-92C318890D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22177" y="1800000"/>
            <a:ext cx="3238154" cy="62206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0" y="2484409"/>
            <a:ext cx="3227204" cy="3596335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 sz="2000"/>
            </a:lvl1pPr>
            <a:lvl2pPr>
              <a:lnSpc>
                <a:spcPct val="95000"/>
              </a:lnSpc>
              <a:spcBef>
                <a:spcPts val="800"/>
              </a:spcBef>
              <a:defRPr sz="20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isällön paikkamerkki 5">
            <a:extLst>
              <a:ext uri="{FF2B5EF4-FFF2-40B4-BE49-F238E27FC236}">
                <a16:creationId xmlns:a16="http://schemas.microsoft.com/office/drawing/2014/main" id="{33801C8A-468B-44D4-B08A-648D158C404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08531" y="2484409"/>
            <a:ext cx="3227204" cy="3596335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 sz="2000"/>
            </a:lvl1pPr>
            <a:lvl2pPr>
              <a:lnSpc>
                <a:spcPct val="95000"/>
              </a:lnSpc>
              <a:spcBef>
                <a:spcPts val="800"/>
              </a:spcBef>
              <a:defRPr sz="20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Sisällön paikkamerkki 5">
            <a:extLst>
              <a:ext uri="{FF2B5EF4-FFF2-40B4-BE49-F238E27FC236}">
                <a16:creationId xmlns:a16="http://schemas.microsoft.com/office/drawing/2014/main" id="{8BA4B4DC-7CA6-48EC-A043-3C135F950C2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733127" y="2484409"/>
            <a:ext cx="3227204" cy="3596335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 sz="2000"/>
            </a:lvl1pPr>
            <a:lvl2pPr>
              <a:lnSpc>
                <a:spcPct val="95000"/>
              </a:lnSpc>
              <a:spcBef>
                <a:spcPts val="800"/>
              </a:spcBef>
              <a:defRPr sz="20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Päivämäärän paikkamerkki 26">
            <a:extLst>
              <a:ext uri="{FF2B5EF4-FFF2-40B4-BE49-F238E27FC236}">
                <a16:creationId xmlns:a16="http://schemas.microsoft.com/office/drawing/2014/main" id="{04CEFFA8-BD35-B44F-94E8-2B06D41839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C7CDCEF-1729-4127-B985-94E3095A7ACE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7" name="Alatunnisteen paikkamerkki 32">
            <a:extLst>
              <a:ext uri="{FF2B5EF4-FFF2-40B4-BE49-F238E27FC236}">
                <a16:creationId xmlns:a16="http://schemas.microsoft.com/office/drawing/2014/main" id="{2D0212E6-38F7-A54B-A2EF-DA0D6C0654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8" name="Dian numeron paikkamerkki 33">
            <a:extLst>
              <a:ext uri="{FF2B5EF4-FFF2-40B4-BE49-F238E27FC236}">
                <a16:creationId xmlns:a16="http://schemas.microsoft.com/office/drawing/2014/main" id="{799A609C-E7BA-4A4C-A9F2-B86087B68F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93686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6B915C02-B976-48D6-B328-127C64160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1051" y="1793276"/>
            <a:ext cx="1804903" cy="83265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0" y="2701427"/>
            <a:ext cx="1798800" cy="3485123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 sz="1600"/>
            </a:lvl1pPr>
            <a:lvl2pPr>
              <a:lnSpc>
                <a:spcPct val="95000"/>
              </a:lnSpc>
              <a:spcBef>
                <a:spcPts val="800"/>
              </a:spcBef>
              <a:defRPr sz="16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kstin paikkamerkki 9">
            <a:extLst>
              <a:ext uri="{FF2B5EF4-FFF2-40B4-BE49-F238E27FC236}">
                <a16:creationId xmlns:a16="http://schemas.microsoft.com/office/drawing/2014/main" id="{292748A7-FA90-4CD4-A9BC-0F0FE6AE9A7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749552" y="1793276"/>
            <a:ext cx="1804903" cy="83265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Sisällön paikkamerkki 5">
            <a:extLst>
              <a:ext uri="{FF2B5EF4-FFF2-40B4-BE49-F238E27FC236}">
                <a16:creationId xmlns:a16="http://schemas.microsoft.com/office/drawing/2014/main" id="{B3423D40-E17C-424F-B4BF-A1B1B14322E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760500" y="2701427"/>
            <a:ext cx="1798800" cy="3485123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 sz="1600"/>
            </a:lvl1pPr>
            <a:lvl2pPr>
              <a:lnSpc>
                <a:spcPct val="95000"/>
              </a:lnSpc>
              <a:spcBef>
                <a:spcPts val="800"/>
              </a:spcBef>
              <a:defRPr sz="16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kstin paikkamerkki 9">
            <a:extLst>
              <a:ext uri="{FF2B5EF4-FFF2-40B4-BE49-F238E27FC236}">
                <a16:creationId xmlns:a16="http://schemas.microsoft.com/office/drawing/2014/main" id="{78847460-0AE1-4B43-9C1D-39A42CA0CCF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18053" y="1793276"/>
            <a:ext cx="1804903" cy="83265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Sisällön paikkamerkki 5">
            <a:extLst>
              <a:ext uri="{FF2B5EF4-FFF2-40B4-BE49-F238E27FC236}">
                <a16:creationId xmlns:a16="http://schemas.microsoft.com/office/drawing/2014/main" id="{350E0842-9C04-4F7F-AAF7-6B81BF9904D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29000" y="2701427"/>
            <a:ext cx="1798800" cy="3485123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 sz="1600"/>
            </a:lvl1pPr>
            <a:lvl2pPr>
              <a:lnSpc>
                <a:spcPct val="95000"/>
              </a:lnSpc>
              <a:spcBef>
                <a:spcPts val="800"/>
              </a:spcBef>
              <a:defRPr sz="16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kstin paikkamerkki 9">
            <a:extLst>
              <a:ext uri="{FF2B5EF4-FFF2-40B4-BE49-F238E27FC236}">
                <a16:creationId xmlns:a16="http://schemas.microsoft.com/office/drawing/2014/main" id="{CC5AB2F7-D6E0-4928-B5D8-28310189D0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86554" y="1793276"/>
            <a:ext cx="1804903" cy="83265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Sisällön paikkamerkki 5">
            <a:extLst>
              <a:ext uri="{FF2B5EF4-FFF2-40B4-BE49-F238E27FC236}">
                <a16:creationId xmlns:a16="http://schemas.microsoft.com/office/drawing/2014/main" id="{67C44CE3-1AC8-4960-99E0-74DFE4570FE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697500" y="2701427"/>
            <a:ext cx="1798800" cy="3485123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 sz="1600"/>
            </a:lvl1pPr>
            <a:lvl2pPr>
              <a:lnSpc>
                <a:spcPct val="95000"/>
              </a:lnSpc>
              <a:spcBef>
                <a:spcPts val="800"/>
              </a:spcBef>
              <a:defRPr sz="16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kstin paikkamerkki 9">
            <a:extLst>
              <a:ext uri="{FF2B5EF4-FFF2-40B4-BE49-F238E27FC236}">
                <a16:creationId xmlns:a16="http://schemas.microsoft.com/office/drawing/2014/main" id="{A7579431-CBFC-4505-B235-0D394E92949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55054" y="1793276"/>
            <a:ext cx="1804903" cy="832656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Sisällön paikkamerkki 5">
            <a:extLst>
              <a:ext uri="{FF2B5EF4-FFF2-40B4-BE49-F238E27FC236}">
                <a16:creationId xmlns:a16="http://schemas.microsoft.com/office/drawing/2014/main" id="{DED725B4-8FA3-4F68-972C-74CE370D59D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666000" y="2701427"/>
            <a:ext cx="1798800" cy="3485123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 sz="1600"/>
            </a:lvl1pPr>
            <a:lvl2pPr>
              <a:lnSpc>
                <a:spcPct val="95000"/>
              </a:lnSpc>
              <a:spcBef>
                <a:spcPts val="800"/>
              </a:spcBef>
              <a:defRPr sz="16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äivämäärän paikkamerkki 26">
            <a:extLst>
              <a:ext uri="{FF2B5EF4-FFF2-40B4-BE49-F238E27FC236}">
                <a16:creationId xmlns:a16="http://schemas.microsoft.com/office/drawing/2014/main" id="{7F1D3155-D5DA-5B49-B463-0829D69D95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0BF92AC-FB13-422C-8449-05BD4039651F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7" name="Alatunnisteen paikkamerkki 32">
            <a:extLst>
              <a:ext uri="{FF2B5EF4-FFF2-40B4-BE49-F238E27FC236}">
                <a16:creationId xmlns:a16="http://schemas.microsoft.com/office/drawing/2014/main" id="{0014C78B-411F-D743-9770-A8C23FD160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8" name="Dian numeron paikkamerkki 33">
            <a:extLst>
              <a:ext uri="{FF2B5EF4-FFF2-40B4-BE49-F238E27FC236}">
                <a16:creationId xmlns:a16="http://schemas.microsoft.com/office/drawing/2014/main" id="{5566673B-3CFF-3147-93E7-E53671144C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875238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6B915C02-B976-48D6-B328-127C64160B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5551" y="1674000"/>
            <a:ext cx="2538394" cy="355097"/>
          </a:xfr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kstin paikkamerkki 9">
            <a:extLst>
              <a:ext uri="{FF2B5EF4-FFF2-40B4-BE49-F238E27FC236}">
                <a16:creationId xmlns:a16="http://schemas.microsoft.com/office/drawing/2014/main" id="{35B60E41-F74D-4F5B-A840-ED1FA24078D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92836" y="1674000"/>
            <a:ext cx="2538394" cy="355097"/>
          </a:xfr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kstin paikkamerkki 9">
            <a:extLst>
              <a:ext uri="{FF2B5EF4-FFF2-40B4-BE49-F238E27FC236}">
                <a16:creationId xmlns:a16="http://schemas.microsoft.com/office/drawing/2014/main" id="{4602BD37-4B91-4065-B386-92C318890D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121" y="1674000"/>
            <a:ext cx="2538394" cy="355097"/>
          </a:xfr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96501" y="2062800"/>
            <a:ext cx="2529810" cy="3954502"/>
          </a:xfr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800"/>
              </a:spcBef>
              <a:defRPr sz="1600"/>
            </a:lvl1pPr>
            <a:lvl2pPr>
              <a:lnSpc>
                <a:spcPct val="95000"/>
              </a:lnSpc>
              <a:spcBef>
                <a:spcPts val="800"/>
              </a:spcBef>
              <a:defRPr sz="16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Sisällön paikkamerkki 5">
            <a:extLst>
              <a:ext uri="{FF2B5EF4-FFF2-40B4-BE49-F238E27FC236}">
                <a16:creationId xmlns:a16="http://schemas.microsoft.com/office/drawing/2014/main" id="{33801C8A-468B-44D4-B08A-648D158C404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3786" y="2062800"/>
            <a:ext cx="2529810" cy="3954502"/>
          </a:xfr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800"/>
              </a:spcBef>
              <a:defRPr sz="1600"/>
            </a:lvl1pPr>
            <a:lvl2pPr>
              <a:lnSpc>
                <a:spcPct val="95000"/>
              </a:lnSpc>
              <a:spcBef>
                <a:spcPts val="800"/>
              </a:spcBef>
              <a:defRPr sz="16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Sisällön paikkamerkki 5">
            <a:extLst>
              <a:ext uri="{FF2B5EF4-FFF2-40B4-BE49-F238E27FC236}">
                <a16:creationId xmlns:a16="http://schemas.microsoft.com/office/drawing/2014/main" id="{8BA4B4DC-7CA6-48EC-A043-3C135F950C2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311071" y="2062800"/>
            <a:ext cx="2529810" cy="3954502"/>
          </a:xfr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800"/>
              </a:spcBef>
              <a:defRPr sz="1600"/>
            </a:lvl1pPr>
            <a:lvl2pPr>
              <a:lnSpc>
                <a:spcPct val="95000"/>
              </a:lnSpc>
              <a:spcBef>
                <a:spcPts val="800"/>
              </a:spcBef>
              <a:defRPr sz="16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kstin paikkamerkki 9">
            <a:extLst>
              <a:ext uri="{FF2B5EF4-FFF2-40B4-BE49-F238E27FC236}">
                <a16:creationId xmlns:a16="http://schemas.microsoft.com/office/drawing/2014/main" id="{E9380DD7-94E1-1A45-A82E-98A4B763A2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07405" y="1674000"/>
            <a:ext cx="2538394" cy="355097"/>
          </a:xfr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2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Sisällön paikkamerkki 5">
            <a:extLst>
              <a:ext uri="{FF2B5EF4-FFF2-40B4-BE49-F238E27FC236}">
                <a16:creationId xmlns:a16="http://schemas.microsoft.com/office/drawing/2014/main" id="{1E5797BA-78F6-8445-9023-2C733886CFB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18355" y="2062800"/>
            <a:ext cx="2529810" cy="3954502"/>
          </a:xfr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800"/>
              </a:spcBef>
              <a:defRPr sz="1600"/>
            </a:lvl1pPr>
            <a:lvl2pPr>
              <a:lnSpc>
                <a:spcPct val="95000"/>
              </a:lnSpc>
              <a:spcBef>
                <a:spcPts val="800"/>
              </a:spcBef>
              <a:defRPr sz="1600"/>
            </a:lvl2pPr>
            <a:lvl3pPr marL="72392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äivämäärän paikkamerkki 26">
            <a:extLst>
              <a:ext uri="{FF2B5EF4-FFF2-40B4-BE49-F238E27FC236}">
                <a16:creationId xmlns:a16="http://schemas.microsoft.com/office/drawing/2014/main" id="{65A7605A-B41D-BE4E-BF5C-B3973C5E76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3320E15C-E25E-403E-B776-CA5D704C256E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20" name="Alatunnisteen paikkamerkki 32">
            <a:extLst>
              <a:ext uri="{FF2B5EF4-FFF2-40B4-BE49-F238E27FC236}">
                <a16:creationId xmlns:a16="http://schemas.microsoft.com/office/drawing/2014/main" id="{AB8B6B19-F2AE-3E4B-B4A2-33C615D1AC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21" name="Dian numeron paikkamerkki 33">
            <a:extLst>
              <a:ext uri="{FF2B5EF4-FFF2-40B4-BE49-F238E27FC236}">
                <a16:creationId xmlns:a16="http://schemas.microsoft.com/office/drawing/2014/main" id="{E95A511B-A882-F647-97C6-08BBAAE576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316488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DC1182CA-ED77-2544-9649-E8FD959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E1073E20-F2C1-4DCA-B1A4-9BFBA5CDE088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E7794161-F490-8341-8B8F-54C7F7170B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F5BE1E-5C8D-6747-9B95-5CBD6419F1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Sisällön paikkamerkki 19">
            <a:extLst>
              <a:ext uri="{FF2B5EF4-FFF2-40B4-BE49-F238E27FC236}">
                <a16:creationId xmlns:a16="http://schemas.microsoft.com/office/drawing/2014/main" id="{9069CDCB-4F3A-42C0-A595-D595DB5E2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81719" y="1637607"/>
            <a:ext cx="5040000" cy="3670069"/>
          </a:xfrm>
          <a:solidFill>
            <a:srgbClr val="32A2B8"/>
          </a:solidFill>
        </p:spPr>
        <p:txBody>
          <a:bodyPr lIns="216000" tIns="144000" rIns="108000" bIns="7200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isällön paikkamerkki 19">
            <a:extLst>
              <a:ext uri="{FF2B5EF4-FFF2-40B4-BE49-F238E27FC236}">
                <a16:creationId xmlns:a16="http://schemas.microsoft.com/office/drawing/2014/main" id="{9F6B8E7C-CBAB-4C41-ADE0-AD5133904D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96000" y="1637607"/>
            <a:ext cx="5040000" cy="3670069"/>
          </a:xfrm>
          <a:solidFill>
            <a:srgbClr val="32A2B8"/>
          </a:solidFill>
        </p:spPr>
        <p:txBody>
          <a:bodyPr lIns="216000" tIns="144000" rIns="108000" bIns="7200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6257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dia 2">
    <p:bg>
      <p:bgPr>
        <a:solidFill>
          <a:srgbClr val="6365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48FE948-F9AF-9F4F-AAA0-35AD5CBB6B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7665" y="2049221"/>
            <a:ext cx="9144000" cy="2387600"/>
          </a:xfrm>
        </p:spPr>
        <p:txBody>
          <a:bodyPr anchor="b">
            <a:normAutofit/>
          </a:bodyPr>
          <a:lstStyle>
            <a:lvl1pPr algn="l">
              <a:defRPr sz="4401" b="1" i="0" cap="none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 err="1"/>
              <a:t>Väliotsikkokalvo</a:t>
            </a:r>
            <a:r>
              <a:rPr lang="en-GB" noProof="0" dirty="0"/>
              <a:t> </a:t>
            </a:r>
            <a:endParaRPr lang="fi-FI" noProof="0" dirty="0"/>
          </a:p>
        </p:txBody>
      </p:sp>
      <p:pic>
        <p:nvPicPr>
          <p:cNvPr id="15" name="Kuva 17">
            <a:extLst>
              <a:ext uri="{FF2B5EF4-FFF2-40B4-BE49-F238E27FC236}">
                <a16:creationId xmlns:a16="http://schemas.microsoft.com/office/drawing/2014/main" id="{CA3F4F67-0BD0-F249-8679-0A1DB4EAD8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0735" b="26230"/>
          <a:stretch/>
        </p:blipFill>
        <p:spPr>
          <a:xfrm>
            <a:off x="10717077" y="233224"/>
            <a:ext cx="1252965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5243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DC1182CA-ED77-2544-9649-E8FD959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CC15E876-F167-418E-8AE9-2A78FC3A578B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E7794161-F490-8341-8B8F-54C7F7170B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F5BE1E-5C8D-6747-9B95-5CBD6419F1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Sisällön paikkamerkki 19">
            <a:extLst>
              <a:ext uri="{FF2B5EF4-FFF2-40B4-BE49-F238E27FC236}">
                <a16:creationId xmlns:a16="http://schemas.microsoft.com/office/drawing/2014/main" id="{9069CDCB-4F3A-42C0-A595-D595DB5E2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81719" y="1637607"/>
            <a:ext cx="3138488" cy="3670069"/>
          </a:xfrm>
          <a:solidFill>
            <a:srgbClr val="32A2B8"/>
          </a:solidFill>
        </p:spPr>
        <p:txBody>
          <a:bodyPr lIns="162000" tIns="144000" rIns="72000" bIns="7200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isällön paikkamerkki 19">
            <a:extLst>
              <a:ext uri="{FF2B5EF4-FFF2-40B4-BE49-F238E27FC236}">
                <a16:creationId xmlns:a16="http://schemas.microsoft.com/office/drawing/2014/main" id="{9F6B8E7C-CBAB-4C41-ADE0-AD5133904D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89338" y="1637607"/>
            <a:ext cx="3138488" cy="3670069"/>
          </a:xfrm>
          <a:solidFill>
            <a:srgbClr val="32A2B8"/>
          </a:solidFill>
        </p:spPr>
        <p:txBody>
          <a:bodyPr lIns="162000" tIns="144000" rIns="72000" bIns="7200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isällön paikkamerkki 19">
            <a:extLst>
              <a:ext uri="{FF2B5EF4-FFF2-40B4-BE49-F238E27FC236}">
                <a16:creationId xmlns:a16="http://schemas.microsoft.com/office/drawing/2014/main" id="{116307B4-3232-4BD9-9834-68C7B84D6C3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796958" y="1637607"/>
            <a:ext cx="3138488" cy="3670069"/>
          </a:xfrm>
          <a:solidFill>
            <a:srgbClr val="32A2B8"/>
          </a:solidFill>
        </p:spPr>
        <p:txBody>
          <a:bodyPr lIns="162000" tIns="144000" rIns="72000" bIns="7200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73332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20" name="Sisällön paikkamerkki 19">
            <a:extLst>
              <a:ext uri="{FF2B5EF4-FFF2-40B4-BE49-F238E27FC236}">
                <a16:creationId xmlns:a16="http://schemas.microsoft.com/office/drawing/2014/main" id="{9069CDCB-4F3A-42C0-A595-D595DB5E2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67740" y="1637607"/>
            <a:ext cx="1981200" cy="3670069"/>
          </a:xfrm>
          <a:solidFill>
            <a:srgbClr val="32A2B8"/>
          </a:solidFill>
        </p:spPr>
        <p:txBody>
          <a:bodyPr lIns="162000" tIns="180000" rIns="144000" bIns="7200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isällön paikkamerkki 19">
            <a:extLst>
              <a:ext uri="{FF2B5EF4-FFF2-40B4-BE49-F238E27FC236}">
                <a16:creationId xmlns:a16="http://schemas.microsoft.com/office/drawing/2014/main" id="{1E58288B-895F-499C-AF2C-305B7DA9C31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888640" y="1637607"/>
            <a:ext cx="1981200" cy="3670069"/>
          </a:xfrm>
          <a:solidFill>
            <a:srgbClr val="32A2B8"/>
          </a:solidFill>
        </p:spPr>
        <p:txBody>
          <a:bodyPr lIns="162000" tIns="180000" rIns="144000" bIns="7200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isällön paikkamerkki 19">
            <a:extLst>
              <a:ext uri="{FF2B5EF4-FFF2-40B4-BE49-F238E27FC236}">
                <a16:creationId xmlns:a16="http://schemas.microsoft.com/office/drawing/2014/main" id="{A02D240F-C46F-485C-AC33-DFEE8C8A1D1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003190" y="1637607"/>
            <a:ext cx="1981200" cy="3670069"/>
          </a:xfrm>
          <a:solidFill>
            <a:srgbClr val="32A2B8"/>
          </a:solidFill>
        </p:spPr>
        <p:txBody>
          <a:bodyPr lIns="162000" tIns="180000" rIns="144000" bIns="7200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isällön paikkamerkki 19">
            <a:extLst>
              <a:ext uri="{FF2B5EF4-FFF2-40B4-BE49-F238E27FC236}">
                <a16:creationId xmlns:a16="http://schemas.microsoft.com/office/drawing/2014/main" id="{36C19FE0-C706-4FD0-AFCF-161EACB4790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130440" y="1637607"/>
            <a:ext cx="1981200" cy="3670069"/>
          </a:xfrm>
          <a:solidFill>
            <a:srgbClr val="32A2B8"/>
          </a:solidFill>
        </p:spPr>
        <p:txBody>
          <a:bodyPr lIns="162000" tIns="180000" rIns="144000" bIns="7200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isällön paikkamerkki 19">
            <a:extLst>
              <a:ext uri="{FF2B5EF4-FFF2-40B4-BE49-F238E27FC236}">
                <a16:creationId xmlns:a16="http://schemas.microsoft.com/office/drawing/2014/main" id="{DD383B02-F7AD-4D07-B347-8A73BBA0E37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276740" y="1637607"/>
            <a:ext cx="1981200" cy="3670069"/>
          </a:xfrm>
          <a:solidFill>
            <a:srgbClr val="32A2B8"/>
          </a:solidFill>
        </p:spPr>
        <p:txBody>
          <a:bodyPr lIns="162000" tIns="180000" rIns="144000" bIns="7200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äivämäärän paikkamerkki 26">
            <a:extLst>
              <a:ext uri="{FF2B5EF4-FFF2-40B4-BE49-F238E27FC236}">
                <a16:creationId xmlns:a16="http://schemas.microsoft.com/office/drawing/2014/main" id="{489C8133-9C98-244D-B998-10E6FCF773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4134974-57BE-4EA1-BA38-5A4FAD69F33A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5" name="Alatunnisteen paikkamerkki 32">
            <a:extLst>
              <a:ext uri="{FF2B5EF4-FFF2-40B4-BE49-F238E27FC236}">
                <a16:creationId xmlns:a16="http://schemas.microsoft.com/office/drawing/2014/main" id="{F8420DE2-5A57-9945-A9E7-A71ED3EDE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6" name="Dian numeron paikkamerkki 33">
            <a:extLst>
              <a:ext uri="{FF2B5EF4-FFF2-40B4-BE49-F238E27FC236}">
                <a16:creationId xmlns:a16="http://schemas.microsoft.com/office/drawing/2014/main" id="{74B22FC9-C461-C043-A4BB-578DA5A821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7724358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ailu 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20" name="Sisällön paikkamerkki 19">
            <a:extLst>
              <a:ext uri="{FF2B5EF4-FFF2-40B4-BE49-F238E27FC236}">
                <a16:creationId xmlns:a16="http://schemas.microsoft.com/office/drawing/2014/main" id="{9069CDCB-4F3A-42C0-A595-D595DB5E2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97221" y="1841500"/>
            <a:ext cx="3282950" cy="3606800"/>
          </a:xfrm>
          <a:solidFill>
            <a:schemeClr val="bg1"/>
          </a:solidFill>
        </p:spPr>
        <p:txBody>
          <a:bodyPr lIns="162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isällön paikkamerkki 19">
            <a:extLst>
              <a:ext uri="{FF2B5EF4-FFF2-40B4-BE49-F238E27FC236}">
                <a16:creationId xmlns:a16="http://schemas.microsoft.com/office/drawing/2014/main" id="{9F6B8E7C-CBAB-4C41-ADE0-AD5133904D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23434" y="1841500"/>
            <a:ext cx="3282950" cy="3606800"/>
          </a:xfrm>
          <a:solidFill>
            <a:schemeClr val="bg1"/>
          </a:solidFill>
        </p:spPr>
        <p:txBody>
          <a:bodyPr lIns="162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isällön paikkamerkki 19">
            <a:extLst>
              <a:ext uri="{FF2B5EF4-FFF2-40B4-BE49-F238E27FC236}">
                <a16:creationId xmlns:a16="http://schemas.microsoft.com/office/drawing/2014/main" id="{116307B4-3232-4BD9-9834-68C7B84D6C3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849647" y="1841500"/>
            <a:ext cx="3282950" cy="3606800"/>
          </a:xfrm>
          <a:solidFill>
            <a:schemeClr val="bg1"/>
          </a:solidFill>
        </p:spPr>
        <p:txBody>
          <a:bodyPr lIns="162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EE6305A3-6114-604D-95B4-6B89BC60A0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D308502-560C-4484-8EA5-5282652BA901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17BCB8D7-D752-2946-B8E0-A935241C50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EFB26DF4-8C51-3C4A-9035-0511756FF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9" name="Kuva 17">
            <a:extLst>
              <a:ext uri="{FF2B5EF4-FFF2-40B4-BE49-F238E27FC236}">
                <a16:creationId xmlns:a16="http://schemas.microsoft.com/office/drawing/2014/main" id="{AF515D59-96AB-00B1-D02F-49F8F67365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0735" b="26230"/>
          <a:stretch/>
        </p:blipFill>
        <p:spPr>
          <a:xfrm>
            <a:off x="10717077" y="233224"/>
            <a:ext cx="1252965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6300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ailu 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20" name="Sisällön paikkamerkki 19">
            <a:extLst>
              <a:ext uri="{FF2B5EF4-FFF2-40B4-BE49-F238E27FC236}">
                <a16:creationId xmlns:a16="http://schemas.microsoft.com/office/drawing/2014/main" id="{9069CDCB-4F3A-42C0-A595-D595DB5E2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97221" y="1841500"/>
            <a:ext cx="3282950" cy="3606800"/>
          </a:xfrm>
          <a:solidFill>
            <a:schemeClr val="bg1"/>
          </a:solidFill>
        </p:spPr>
        <p:txBody>
          <a:bodyPr lIns="162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isällön paikkamerkki 19">
            <a:extLst>
              <a:ext uri="{FF2B5EF4-FFF2-40B4-BE49-F238E27FC236}">
                <a16:creationId xmlns:a16="http://schemas.microsoft.com/office/drawing/2014/main" id="{9F6B8E7C-CBAB-4C41-ADE0-AD5133904D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23434" y="1841500"/>
            <a:ext cx="3282950" cy="3606800"/>
          </a:xfrm>
          <a:solidFill>
            <a:schemeClr val="bg1"/>
          </a:solidFill>
        </p:spPr>
        <p:txBody>
          <a:bodyPr lIns="162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isällön paikkamerkki 19">
            <a:extLst>
              <a:ext uri="{FF2B5EF4-FFF2-40B4-BE49-F238E27FC236}">
                <a16:creationId xmlns:a16="http://schemas.microsoft.com/office/drawing/2014/main" id="{116307B4-3232-4BD9-9834-68C7B84D6C3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849647" y="1841500"/>
            <a:ext cx="3282950" cy="3606800"/>
          </a:xfrm>
          <a:solidFill>
            <a:schemeClr val="bg1"/>
          </a:solidFill>
        </p:spPr>
        <p:txBody>
          <a:bodyPr lIns="162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EE6305A3-6114-604D-95B4-6B89BC60A0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F0798087-9565-471E-B56B-E9C873C21169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17BCB8D7-D752-2946-B8E0-A935241C50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EFB26DF4-8C51-3C4A-9035-0511756FF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13" name="Kuva 17">
            <a:extLst>
              <a:ext uri="{FF2B5EF4-FFF2-40B4-BE49-F238E27FC236}">
                <a16:creationId xmlns:a16="http://schemas.microsoft.com/office/drawing/2014/main" id="{093685A2-B589-A14A-5B6C-B9FF4F448D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0735" b="26230"/>
          <a:stretch/>
        </p:blipFill>
        <p:spPr>
          <a:xfrm>
            <a:off x="10717077" y="233224"/>
            <a:ext cx="1252965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4959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ailu 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uva 17">
            <a:extLst>
              <a:ext uri="{FF2B5EF4-FFF2-40B4-BE49-F238E27FC236}">
                <a16:creationId xmlns:a16="http://schemas.microsoft.com/office/drawing/2014/main" id="{CA3F4F67-0BD0-F249-8679-0A1DB4EAD8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0735" b="26230"/>
          <a:stretch/>
        </p:blipFill>
        <p:spPr>
          <a:xfrm>
            <a:off x="10717077" y="233224"/>
            <a:ext cx="1252965" cy="469900"/>
          </a:xfrm>
          <a:prstGeom prst="rect">
            <a:avLst/>
          </a:prstGeom>
        </p:spPr>
      </p:pic>
      <p:sp>
        <p:nvSpPr>
          <p:cNvPr id="9" name="Otsikko 3">
            <a:extLst>
              <a:ext uri="{FF2B5EF4-FFF2-40B4-BE49-F238E27FC236}">
                <a16:creationId xmlns:a16="http://schemas.microsoft.com/office/drawing/2014/main" id="{9039C074-80D6-9548-8943-A8DB698E9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719" y="644233"/>
            <a:ext cx="9216720" cy="7823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10" name="Sisällön paikkamerkki 19">
            <a:extLst>
              <a:ext uri="{FF2B5EF4-FFF2-40B4-BE49-F238E27FC236}">
                <a16:creationId xmlns:a16="http://schemas.microsoft.com/office/drawing/2014/main" id="{A504A090-FF9A-6DC5-6FD4-030704ACEA4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97221" y="1841500"/>
            <a:ext cx="3282950" cy="3606800"/>
          </a:xfrm>
          <a:solidFill>
            <a:schemeClr val="bg1"/>
          </a:solidFill>
        </p:spPr>
        <p:txBody>
          <a:bodyPr lIns="162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isällön paikkamerkki 19">
            <a:extLst>
              <a:ext uri="{FF2B5EF4-FFF2-40B4-BE49-F238E27FC236}">
                <a16:creationId xmlns:a16="http://schemas.microsoft.com/office/drawing/2014/main" id="{A0163EEF-5686-2398-23C4-52A916585B2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23434" y="1841500"/>
            <a:ext cx="3282950" cy="3606800"/>
          </a:xfrm>
          <a:solidFill>
            <a:schemeClr val="bg1"/>
          </a:solidFill>
        </p:spPr>
        <p:txBody>
          <a:bodyPr lIns="162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isällön paikkamerkki 19">
            <a:extLst>
              <a:ext uri="{FF2B5EF4-FFF2-40B4-BE49-F238E27FC236}">
                <a16:creationId xmlns:a16="http://schemas.microsoft.com/office/drawing/2014/main" id="{A4052AAF-956D-DC57-C183-C7B5901880F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849647" y="1841500"/>
            <a:ext cx="3282950" cy="3606800"/>
          </a:xfrm>
          <a:solidFill>
            <a:schemeClr val="bg1"/>
          </a:solidFill>
        </p:spPr>
        <p:txBody>
          <a:bodyPr lIns="162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6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68594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ailu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20" name="Sisällön paikkamerkki 19">
            <a:extLst>
              <a:ext uri="{FF2B5EF4-FFF2-40B4-BE49-F238E27FC236}">
                <a16:creationId xmlns:a16="http://schemas.microsoft.com/office/drawing/2014/main" id="{9069CDCB-4F3A-42C0-A595-D595DB5E2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97221" y="1841500"/>
            <a:ext cx="5040000" cy="3606800"/>
          </a:xfrm>
          <a:solidFill>
            <a:schemeClr val="bg1"/>
          </a:solidFill>
        </p:spPr>
        <p:txBody>
          <a:bodyPr lIns="216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isällön paikkamerkki 19">
            <a:extLst>
              <a:ext uri="{FF2B5EF4-FFF2-40B4-BE49-F238E27FC236}">
                <a16:creationId xmlns:a16="http://schemas.microsoft.com/office/drawing/2014/main" id="{9F6B8E7C-CBAB-4C41-ADE0-AD5133904D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78748" y="1841500"/>
            <a:ext cx="5040000" cy="3606800"/>
          </a:xfrm>
          <a:solidFill>
            <a:schemeClr val="bg1"/>
          </a:solidFill>
        </p:spPr>
        <p:txBody>
          <a:bodyPr lIns="216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EE6305A3-6114-604D-95B4-6B89BC60A0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F25A07C-16D3-429C-A56B-4999042C16AC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17BCB8D7-D752-2946-B8E0-A935241C50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EFB26DF4-8C51-3C4A-9035-0511756FF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9" name="Kuva 17">
            <a:extLst>
              <a:ext uri="{FF2B5EF4-FFF2-40B4-BE49-F238E27FC236}">
                <a16:creationId xmlns:a16="http://schemas.microsoft.com/office/drawing/2014/main" id="{AF515D59-96AB-00B1-D02F-49F8F67365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0735" b="26230"/>
          <a:stretch/>
        </p:blipFill>
        <p:spPr>
          <a:xfrm>
            <a:off x="10717077" y="233224"/>
            <a:ext cx="1252965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4832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ailu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20" name="Sisällön paikkamerkki 19">
            <a:extLst>
              <a:ext uri="{FF2B5EF4-FFF2-40B4-BE49-F238E27FC236}">
                <a16:creationId xmlns:a16="http://schemas.microsoft.com/office/drawing/2014/main" id="{9069CDCB-4F3A-42C0-A595-D595DB5E2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97221" y="1841500"/>
            <a:ext cx="5040000" cy="3606800"/>
          </a:xfrm>
          <a:solidFill>
            <a:schemeClr val="bg1"/>
          </a:solidFill>
        </p:spPr>
        <p:txBody>
          <a:bodyPr lIns="216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isällön paikkamerkki 19">
            <a:extLst>
              <a:ext uri="{FF2B5EF4-FFF2-40B4-BE49-F238E27FC236}">
                <a16:creationId xmlns:a16="http://schemas.microsoft.com/office/drawing/2014/main" id="{116307B4-3232-4BD9-9834-68C7B84D6C3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78794" y="1841500"/>
            <a:ext cx="5040000" cy="3606800"/>
          </a:xfrm>
          <a:solidFill>
            <a:schemeClr val="bg1"/>
          </a:solidFill>
        </p:spPr>
        <p:txBody>
          <a:bodyPr lIns="216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800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EE6305A3-6114-604D-95B4-6B89BC60A0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4592735-B1CB-4EE1-B5EE-84E09C3A8CB1}" type="datetime1">
              <a:rPr lang="fi-FI" noProof="0" smtClean="0"/>
              <a:t>18.12.2023</a:t>
            </a:fld>
            <a:endParaRPr lang="fi-FI" noProof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17BCB8D7-D752-2946-B8E0-A935241C50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EFB26DF4-8C51-3C4A-9035-0511756FF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noProof="0" smtClean="0"/>
              <a:pPr/>
              <a:t>‹#›</a:t>
            </a:fld>
            <a:endParaRPr lang="fi-FI" noProof="0"/>
          </a:p>
        </p:txBody>
      </p:sp>
      <p:pic>
        <p:nvPicPr>
          <p:cNvPr id="13" name="Kuva 17">
            <a:extLst>
              <a:ext uri="{FF2B5EF4-FFF2-40B4-BE49-F238E27FC236}">
                <a16:creationId xmlns:a16="http://schemas.microsoft.com/office/drawing/2014/main" id="{093685A2-B589-A14A-5B6C-B9FF4F448D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0735" b="26230"/>
          <a:stretch/>
        </p:blipFill>
        <p:spPr>
          <a:xfrm>
            <a:off x="10717077" y="233224"/>
            <a:ext cx="1252965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992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ailu 1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uva 17">
            <a:extLst>
              <a:ext uri="{FF2B5EF4-FFF2-40B4-BE49-F238E27FC236}">
                <a16:creationId xmlns:a16="http://schemas.microsoft.com/office/drawing/2014/main" id="{CA3F4F67-0BD0-F249-8679-0A1DB4EAD8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0735" b="26230"/>
          <a:stretch/>
        </p:blipFill>
        <p:spPr>
          <a:xfrm>
            <a:off x="10717077" y="233224"/>
            <a:ext cx="1252965" cy="469900"/>
          </a:xfrm>
          <a:prstGeom prst="rect">
            <a:avLst/>
          </a:prstGeom>
        </p:spPr>
      </p:pic>
      <p:sp>
        <p:nvSpPr>
          <p:cNvPr id="9" name="Otsikko 3">
            <a:extLst>
              <a:ext uri="{FF2B5EF4-FFF2-40B4-BE49-F238E27FC236}">
                <a16:creationId xmlns:a16="http://schemas.microsoft.com/office/drawing/2014/main" id="{9039C074-80D6-9548-8943-A8DB698E9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719" y="644233"/>
            <a:ext cx="9216720" cy="7823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12" name="Sisällön paikkamerkki 19">
            <a:extLst>
              <a:ext uri="{FF2B5EF4-FFF2-40B4-BE49-F238E27FC236}">
                <a16:creationId xmlns:a16="http://schemas.microsoft.com/office/drawing/2014/main" id="{5EC5C852-7372-852B-04AA-3831DA7F85A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97221" y="1841500"/>
            <a:ext cx="5040000" cy="3606800"/>
          </a:xfrm>
          <a:solidFill>
            <a:schemeClr val="bg1"/>
          </a:solidFill>
        </p:spPr>
        <p:txBody>
          <a:bodyPr lIns="216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isällön paikkamerkki 19">
            <a:extLst>
              <a:ext uri="{FF2B5EF4-FFF2-40B4-BE49-F238E27FC236}">
                <a16:creationId xmlns:a16="http://schemas.microsoft.com/office/drawing/2014/main" id="{5654C04A-11A3-C3D3-C485-C847A5D67E5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78794" y="1841500"/>
            <a:ext cx="5040000" cy="3606800"/>
          </a:xfrm>
          <a:solidFill>
            <a:schemeClr val="bg1"/>
          </a:solidFill>
        </p:spPr>
        <p:txBody>
          <a:bodyPr lIns="216000" tIns="180000" rIns="72000" bIns="72000"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4814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A9DF09A-D932-7545-8666-5F9C7CA389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Otsikko 1">
            <a:extLst>
              <a:ext uri="{FF2B5EF4-FFF2-40B4-BE49-F238E27FC236}">
                <a16:creationId xmlns:a16="http://schemas.microsoft.com/office/drawing/2014/main" id="{594CFB72-BE78-3E4C-9E73-DCCDC6B65C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7665" y="1725282"/>
            <a:ext cx="9144000" cy="1322685"/>
          </a:xfrm>
        </p:spPr>
        <p:txBody>
          <a:bodyPr anchor="b">
            <a:normAutofit/>
          </a:bodyPr>
          <a:lstStyle>
            <a:lvl1pPr algn="l">
              <a:defRPr sz="4401" b="1" i="0" cap="none">
                <a:solidFill>
                  <a:srgbClr val="32A2B8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FDCE47-9765-1447-8177-9AA10A17C6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4685" y="287947"/>
            <a:ext cx="1171611" cy="356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2284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BF6BA802-68DF-4327-B15E-F1680EF59B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532285" y="6522259"/>
            <a:ext cx="1472128" cy="244617"/>
          </a:xfrm>
          <a:prstGeom prst="rect">
            <a:avLst/>
          </a:prstGeom>
        </p:spPr>
        <p:txBody>
          <a:bodyPr/>
          <a:lstStyle/>
          <a:p>
            <a:fld id="{0646E7BC-8DB4-4B51-9586-C73E821BDB0A}" type="datetime1">
              <a:rPr lang="fi-FI" noProof="0" smtClean="0"/>
              <a:t>18.12.2023</a:t>
            </a:fld>
            <a:endParaRPr lang="fi-FI" noProof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F1F32525-4D9C-4DBB-9937-8C6F70046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/>
          <a:lstStyle/>
          <a:p>
            <a:endParaRPr lang="fi-FI" noProof="0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E5C70B92-764E-4852-8485-F9C35C975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/>
          <a:lstStyle/>
          <a:p>
            <a:fld id="{2E46437E-D3FF-48BE-9DB0-E927655FE322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0" name="Otsikko 9">
            <a:extLst>
              <a:ext uri="{FF2B5EF4-FFF2-40B4-BE49-F238E27FC236}">
                <a16:creationId xmlns:a16="http://schemas.microsoft.com/office/drawing/2014/main" id="{EDFCFB40-51DE-4875-9223-D7D796038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406340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dia 3">
    <p:bg>
      <p:bgPr>
        <a:solidFill>
          <a:srgbClr val="FF59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48FE948-F9AF-9F4F-AAA0-35AD5CBB6B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7665" y="2049221"/>
            <a:ext cx="9144000" cy="2387600"/>
          </a:xfrm>
        </p:spPr>
        <p:txBody>
          <a:bodyPr anchor="b">
            <a:normAutofit/>
          </a:bodyPr>
          <a:lstStyle>
            <a:lvl1pPr algn="l">
              <a:defRPr sz="4401" b="1" i="0" cap="none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 err="1"/>
              <a:t>Väliotsikkokalvo</a:t>
            </a:r>
            <a:endParaRPr lang="fi-FI" noProof="0" dirty="0"/>
          </a:p>
        </p:txBody>
      </p:sp>
      <p:pic>
        <p:nvPicPr>
          <p:cNvPr id="15" name="Kuva 17">
            <a:extLst>
              <a:ext uri="{FF2B5EF4-FFF2-40B4-BE49-F238E27FC236}">
                <a16:creationId xmlns:a16="http://schemas.microsoft.com/office/drawing/2014/main" id="{CA3F4F67-0BD0-F249-8679-0A1DB4EAD8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0735" b="26230"/>
          <a:stretch/>
        </p:blipFill>
        <p:spPr>
          <a:xfrm>
            <a:off x="10717077" y="233224"/>
            <a:ext cx="1252965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7658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Kokonaan 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DA556F1-B85F-174C-8CA0-8F53EF3C38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4685" y="287947"/>
            <a:ext cx="1171611" cy="356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5918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A9DF09A-D932-7545-8666-5F9C7CA389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E555B3-88B4-2742-B7C2-CEC5E10249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4685" y="287947"/>
            <a:ext cx="1171611" cy="356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7088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C90F02-88DF-4E62-9418-36D78D0149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D33292FF-9801-4887-ACC7-C271509CA9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051" y="2741332"/>
            <a:ext cx="3484728" cy="1306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4368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DF77D92-C4FA-532D-F08B-CEF7ED9FB0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17" b="17"/>
          <a:stretch/>
        </p:blipFill>
        <p:spPr>
          <a:xfrm>
            <a:off x="0" y="0"/>
            <a:ext cx="12191999" cy="6855714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7D9EC762-7923-44E1-971B-3232998E81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761" y="2496243"/>
            <a:ext cx="2982257" cy="2107414"/>
          </a:xfrm>
          <a:prstGeom prst="rect">
            <a:avLst/>
          </a:prstGeom>
        </p:spPr>
      </p:pic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CDEA507C-B51E-4D86-B534-6841993E63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0800" y="525600"/>
            <a:ext cx="5340350" cy="195796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6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3182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A6A49B1-A409-E1C7-9BE1-4FAB633596FF}"/>
              </a:ext>
            </a:extLst>
          </p:cNvPr>
          <p:cNvGrpSpPr/>
          <p:nvPr userDrawn="1"/>
        </p:nvGrpSpPr>
        <p:grpSpPr>
          <a:xfrm>
            <a:off x="808740" y="4469253"/>
            <a:ext cx="6546628" cy="2209558"/>
            <a:chOff x="808740" y="4469253"/>
            <a:chExt cx="6546628" cy="2209558"/>
          </a:xfrm>
        </p:grpSpPr>
        <p:sp>
          <p:nvSpPr>
            <p:cNvPr id="9" name="TextBox 6">
              <a:extLst>
                <a:ext uri="{FF2B5EF4-FFF2-40B4-BE49-F238E27FC236}">
                  <a16:creationId xmlns:a16="http://schemas.microsoft.com/office/drawing/2014/main" id="{A9D59116-3489-4423-FA2C-271A4D84A351}"/>
                </a:ext>
              </a:extLst>
            </p:cNvPr>
            <p:cNvSpPr txBox="1"/>
            <p:nvPr userDrawn="1"/>
          </p:nvSpPr>
          <p:spPr>
            <a:xfrm>
              <a:off x="858221" y="4984376"/>
              <a:ext cx="609600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fi-FI" sz="1200" noProof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@GTK.FI       @GTK           </a:t>
              </a:r>
              <a:r>
                <a:rPr lang="en-GB" sz="12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@</a:t>
              </a:r>
              <a:r>
                <a:rPr lang="en-GB" sz="1200" b="0" i="0" kern="1200" dirty="0" err="1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geologicalsurvey_fi</a:t>
              </a:r>
              <a:r>
                <a:rPr lang="en-GB" sz="1200" b="0" i="0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 </a:t>
              </a:r>
              <a:r>
                <a:rPr lang="fi-FI" sz="1200" noProof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		</a:t>
              </a:r>
            </a:p>
          </p:txBody>
        </p:sp>
        <p:pic>
          <p:nvPicPr>
            <p:cNvPr id="10" name="Picture 7" descr="Icon&#10;&#10;Description automatically generated">
              <a:extLst>
                <a:ext uri="{FF2B5EF4-FFF2-40B4-BE49-F238E27FC236}">
                  <a16:creationId xmlns:a16="http://schemas.microsoft.com/office/drawing/2014/main" id="{839D649F-AF91-A7CA-739F-D404090F28A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3222"/>
            <a:stretch/>
          </p:blipFill>
          <p:spPr>
            <a:xfrm>
              <a:off x="910337" y="4469253"/>
              <a:ext cx="1420820" cy="515123"/>
            </a:xfrm>
            <a:prstGeom prst="rect">
              <a:avLst/>
            </a:prstGeom>
          </p:spPr>
        </p:pic>
        <p:pic>
          <p:nvPicPr>
            <p:cNvPr id="11" name="Picture 15" descr="Icon&#10;&#10;Description automatically generated">
              <a:extLst>
                <a:ext uri="{FF2B5EF4-FFF2-40B4-BE49-F238E27FC236}">
                  <a16:creationId xmlns:a16="http://schemas.microsoft.com/office/drawing/2014/main" id="{5AE694A6-7AFD-F26D-9C4B-2E193671339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6128" t="4465" r="5140" b="9514"/>
            <a:stretch/>
          </p:blipFill>
          <p:spPr>
            <a:xfrm>
              <a:off x="2503560" y="4514175"/>
              <a:ext cx="415925" cy="425277"/>
            </a:xfrm>
            <a:prstGeom prst="roundRect">
              <a:avLst>
                <a:gd name="adj" fmla="val 20319"/>
              </a:avLst>
            </a:prstGeom>
          </p:spPr>
        </p:pic>
        <p:pic>
          <p:nvPicPr>
            <p:cNvPr id="12" name="Picture 2" descr="Shape, arrow&#10;&#10;Description automatically generated">
              <a:extLst>
                <a:ext uri="{FF2B5EF4-FFF2-40B4-BE49-F238E27FC236}">
                  <a16:creationId xmlns:a16="http://schemas.microsoft.com/office/drawing/2014/main" id="{A515AA42-4870-4D68-0501-CD3869E8EE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1726326" y="5438278"/>
              <a:ext cx="551575" cy="381793"/>
            </a:xfrm>
            <a:prstGeom prst="rect">
              <a:avLst/>
            </a:prstGeom>
          </p:spPr>
        </p:pic>
        <p:sp>
          <p:nvSpPr>
            <p:cNvPr id="17" name="TextBox 6">
              <a:extLst>
                <a:ext uri="{FF2B5EF4-FFF2-40B4-BE49-F238E27FC236}">
                  <a16:creationId xmlns:a16="http://schemas.microsoft.com/office/drawing/2014/main" id="{75063823-8CFC-8D2C-D3D6-7B3720A6F0F6}"/>
                </a:ext>
              </a:extLst>
            </p:cNvPr>
            <p:cNvSpPr txBox="1"/>
            <p:nvPr userDrawn="1"/>
          </p:nvSpPr>
          <p:spPr>
            <a:xfrm>
              <a:off x="1656060" y="5847814"/>
              <a:ext cx="569930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fi-FI" sz="1200" b="0" i="0" kern="1200" noProof="0" dirty="0" err="1">
                  <a:solidFill>
                    <a:schemeClr val="bg1"/>
                  </a:solidFill>
                  <a:effectLst/>
                  <a:latin typeface="+mn-lt"/>
                  <a:ea typeface="+mn-ea"/>
                  <a:cs typeface="Calibri" panose="020F0502020204030204" pitchFamily="34" charset="0"/>
                </a:rPr>
                <a:t>Youtube.com</a:t>
              </a:r>
              <a:r>
                <a:rPr lang="fi-FI" sz="1200" b="0" i="0" kern="1200" noProof="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Calibri" panose="020F0502020204030204" pitchFamily="34" charset="0"/>
                </a:rPr>
                <a:t>/c/</a:t>
              </a:r>
              <a:r>
                <a:rPr lang="fi-FI" sz="1200" b="0" i="0" kern="1200" noProof="0" dirty="0" err="1">
                  <a:solidFill>
                    <a:schemeClr val="bg1"/>
                  </a:solidFill>
                  <a:effectLst/>
                  <a:latin typeface="+mn-lt"/>
                  <a:ea typeface="+mn-ea"/>
                  <a:cs typeface="Calibri" panose="020F0502020204030204" pitchFamily="34" charset="0"/>
                </a:rPr>
                <a:t>GeologiantutkimuskeskusGTK</a:t>
              </a:r>
              <a:endParaRPr lang="fi-FI" sz="12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TextBox 6">
              <a:extLst>
                <a:ext uri="{FF2B5EF4-FFF2-40B4-BE49-F238E27FC236}">
                  <a16:creationId xmlns:a16="http://schemas.microsoft.com/office/drawing/2014/main" id="{33693B35-390A-6A38-8483-677064213E3F}"/>
                </a:ext>
              </a:extLst>
            </p:cNvPr>
            <p:cNvSpPr txBox="1"/>
            <p:nvPr userDrawn="1"/>
          </p:nvSpPr>
          <p:spPr>
            <a:xfrm>
              <a:off x="808740" y="5847814"/>
              <a:ext cx="757040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fi-FI" sz="1200" noProof="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@GTK_FI.      		</a:t>
              </a:r>
            </a:p>
          </p:txBody>
        </p:sp>
        <p:pic>
          <p:nvPicPr>
            <p:cNvPr id="19" name="Picture 7" descr="Icon&#10;&#10;Description automatically generated">
              <a:extLst>
                <a:ext uri="{FF2B5EF4-FFF2-40B4-BE49-F238E27FC236}">
                  <a16:creationId xmlns:a16="http://schemas.microsoft.com/office/drawing/2014/main" id="{95B2D573-FFE2-1646-2AC9-B2F168E8AB8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112"/>
            <a:stretch/>
          </p:blipFill>
          <p:spPr>
            <a:xfrm>
              <a:off x="858221" y="5365095"/>
              <a:ext cx="572091" cy="5151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4963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Vain otsikko ja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66A80A2-F6E9-8D47-A0F9-7EC37AE80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8B4A9468-3B36-4147-87B5-7A1C3B77C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AC7001-91C5-4552-B627-35693828A8D5}" type="datetime1">
              <a:rPr lang="fi-FI" smtClean="0"/>
              <a:pPr/>
              <a:t>18.12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271FFF3C-0E7B-0245-82F2-CA398337C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081D0C3-CDB7-2B4A-BBCE-CA71A5640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53730-CA77-CA4E-8879-34FB69C671E1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23452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 ja sisältö, norma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GTK-logo_varit@2x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1749" y="6281914"/>
            <a:ext cx="1291480" cy="396109"/>
          </a:xfrm>
          <a:prstGeom prst="rect">
            <a:avLst/>
          </a:prstGeom>
        </p:spPr>
      </p:pic>
      <p:sp>
        <p:nvSpPr>
          <p:cNvPr id="13" name="Alatunnisteen paikkamerkki 4">
            <a:extLst>
              <a:ext uri="{FF2B5EF4-FFF2-40B4-BE49-F238E27FC236}">
                <a16:creationId xmlns:a16="http://schemas.microsoft.com/office/drawing/2014/main" id="{244C4EDF-27E4-421B-91EA-430CC09AD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16172" y="6356351"/>
            <a:ext cx="4114800" cy="365125"/>
          </a:xfrm>
        </p:spPr>
        <p:txBody>
          <a:bodyPr/>
          <a:lstStyle/>
          <a:p>
            <a:endParaRPr lang="fi-FI" dirty="0"/>
          </a:p>
        </p:txBody>
      </p:sp>
      <p:sp>
        <p:nvSpPr>
          <p:cNvPr id="12" name="Päivämäärän paikkamerkki 3">
            <a:extLst>
              <a:ext uri="{FF2B5EF4-FFF2-40B4-BE49-F238E27FC236}">
                <a16:creationId xmlns:a16="http://schemas.microsoft.com/office/drawing/2014/main" id="{4AB77054-DF0D-4428-992C-876FEDE8A0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0904" y="6356351"/>
            <a:ext cx="831721" cy="365125"/>
          </a:xfrm>
        </p:spPr>
        <p:txBody>
          <a:bodyPr/>
          <a:lstStyle/>
          <a:p>
            <a:fld id="{FEAB4746-AAD7-4801-8CD9-A98B7CFEDE8C}" type="datetime1">
              <a:rPr lang="fi-FI" smtClean="0"/>
              <a:pPr/>
              <a:t>18.12.2023</a:t>
            </a:fld>
            <a:endParaRPr lang="fi-FI"/>
          </a:p>
        </p:txBody>
      </p:sp>
      <p:sp>
        <p:nvSpPr>
          <p:cNvPr id="14" name="Dian numeron paikkamerkki 5">
            <a:extLst>
              <a:ext uri="{FF2B5EF4-FFF2-40B4-BE49-F238E27FC236}">
                <a16:creationId xmlns:a16="http://schemas.microsoft.com/office/drawing/2014/main" id="{E3E6891F-A287-4472-BA61-1CD656E68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365126"/>
            <a:ext cx="473235" cy="365125"/>
          </a:xfrm>
        </p:spPr>
        <p:txBody>
          <a:bodyPr/>
          <a:lstStyle/>
          <a:p>
            <a:fld id="{F0753730-CA77-CA4E-8879-34FB69C671E1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5" name="Otsikko 1">
            <a:extLst>
              <a:ext uri="{FF2B5EF4-FFF2-40B4-BE49-F238E27FC236}">
                <a16:creationId xmlns:a16="http://schemas.microsoft.com/office/drawing/2014/main" id="{60C28E2E-6D26-4C90-9A86-D1270E739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901" y="365125"/>
            <a:ext cx="10982899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8" name="Sisällön paikkamerkki 6">
            <a:extLst>
              <a:ext uri="{FF2B5EF4-FFF2-40B4-BE49-F238E27FC236}">
                <a16:creationId xmlns:a16="http://schemas.microsoft.com/office/drawing/2014/main" id="{CDFE6889-5E2F-4704-9803-34D646D8C8E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0800" y="1832400"/>
            <a:ext cx="10983600" cy="435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48240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dia 4">
    <p:bg>
      <p:bgPr>
        <a:solidFill>
          <a:srgbClr val="E7EF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48FE948-F9AF-9F4F-AAA0-35AD5CBB6B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7665" y="2049221"/>
            <a:ext cx="9144000" cy="2387600"/>
          </a:xfrm>
        </p:spPr>
        <p:txBody>
          <a:bodyPr anchor="b">
            <a:normAutofit/>
          </a:bodyPr>
          <a:lstStyle>
            <a:lvl1pPr algn="l">
              <a:defRPr sz="4401" b="1" i="0" cap="none">
                <a:solidFill>
                  <a:srgbClr val="636569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 err="1"/>
              <a:t>Väliotsikkokalvo</a:t>
            </a:r>
            <a:endParaRPr lang="fi-FI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CEFC94-695B-4D45-A13A-32803E9370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4685" y="287947"/>
            <a:ext cx="1171611" cy="356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742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dia 5">
    <p:bg>
      <p:bgPr>
        <a:solidFill>
          <a:srgbClr val="D9EB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48FE948-F9AF-9F4F-AAA0-35AD5CBB6B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7665" y="2049221"/>
            <a:ext cx="9144000" cy="2387600"/>
          </a:xfrm>
        </p:spPr>
        <p:txBody>
          <a:bodyPr anchor="b">
            <a:normAutofit/>
          </a:bodyPr>
          <a:lstStyle>
            <a:lvl1pPr algn="l">
              <a:defRPr sz="4401" b="1" i="0" cap="none">
                <a:solidFill>
                  <a:srgbClr val="636569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noProof="0" dirty="0" err="1"/>
              <a:t>Väliotsikkokalvo</a:t>
            </a:r>
            <a:endParaRPr lang="fi-FI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FB960C-27E5-9E4A-8362-5F55EE4688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4685" y="287947"/>
            <a:ext cx="1171611" cy="356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8910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0" y="1800000"/>
            <a:ext cx="10623600" cy="4190400"/>
          </a:xfrm>
        </p:spPr>
        <p:txBody>
          <a:bodyPr/>
          <a:lstStyle>
            <a:lvl1pPr>
              <a:lnSpc>
                <a:spcPct val="95000"/>
              </a:lnSpc>
              <a:defRPr/>
            </a:lvl1pPr>
            <a:lvl2pPr>
              <a:lnSpc>
                <a:spcPct val="95000"/>
              </a:lnSpc>
              <a:defRPr/>
            </a:lvl2pPr>
            <a:lvl3pPr>
              <a:lnSpc>
                <a:spcPct val="95000"/>
              </a:lnSpc>
              <a:defRPr/>
            </a:lvl3pPr>
            <a:lvl4pPr>
              <a:lnSpc>
                <a:spcPct val="95000"/>
              </a:lnSpc>
              <a:defRPr/>
            </a:lvl4pPr>
            <a:lvl5pPr>
              <a:lnSpc>
                <a:spcPct val="95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91C16881-6633-544D-92AB-3431488DA6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869A7DA-AA84-4B04-8C67-DBE7100C8706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9693FE69-ADDC-D046-B69D-90D93A7B33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D0C0F88D-975B-6E4D-A5F8-8DF73EA93C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402095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0" y="1800000"/>
            <a:ext cx="10623600" cy="4190400"/>
          </a:xfrm>
        </p:spPr>
        <p:txBody>
          <a:bodyPr numCol="2" spcCol="144000"/>
          <a:lstStyle>
            <a:lvl1pPr>
              <a:lnSpc>
                <a:spcPct val="95000"/>
              </a:lnSpc>
              <a:defRPr/>
            </a:lvl1pPr>
            <a:lvl2pPr>
              <a:lnSpc>
                <a:spcPct val="95000"/>
              </a:lnSpc>
              <a:defRPr/>
            </a:lvl2pPr>
            <a:lvl3pPr>
              <a:lnSpc>
                <a:spcPct val="95000"/>
              </a:lnSpc>
              <a:defRPr/>
            </a:lvl3pPr>
            <a:lvl4pPr>
              <a:lnSpc>
                <a:spcPct val="95000"/>
              </a:lnSpc>
              <a:defRPr/>
            </a:lvl4pPr>
            <a:lvl5pPr>
              <a:lnSpc>
                <a:spcPct val="95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91C16881-6633-544D-92AB-3431488DA6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DF5C673-E16F-462F-A501-CC0669F76E30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9693FE69-ADDC-D046-B69D-90D93A7B33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D0C0F88D-975B-6E4D-A5F8-8DF73EA93C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575394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Kaavion paikkamerkki 4">
            <a:extLst>
              <a:ext uri="{FF2B5EF4-FFF2-40B4-BE49-F238E27FC236}">
                <a16:creationId xmlns:a16="http://schemas.microsoft.com/office/drawing/2014/main" id="{6A9540CB-F664-4CE3-C6C9-7BB6EB77842E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404429" y="1800225"/>
            <a:ext cx="5235575" cy="41894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A3FF3EF1-FB40-4C09-88B8-58EACC5B8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DE39943C-918D-4227-947C-38B91E9270D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92003" y="1800000"/>
            <a:ext cx="5234727" cy="4190400"/>
          </a:xfrm>
        </p:spPr>
        <p:txBody>
          <a:bodyPr/>
          <a:lstStyle>
            <a:lvl1pPr>
              <a:lnSpc>
                <a:spcPct val="95000"/>
              </a:lnSpc>
              <a:defRPr sz="2000"/>
            </a:lvl1pPr>
            <a:lvl2pPr>
              <a:lnSpc>
                <a:spcPct val="95000"/>
              </a:lnSpc>
              <a:defRPr sz="2000"/>
            </a:lvl2pPr>
            <a:lvl3pPr>
              <a:lnSpc>
                <a:spcPct val="95000"/>
              </a:lnSpc>
              <a:defRPr sz="2000"/>
            </a:lvl3pPr>
            <a:lvl4pPr>
              <a:lnSpc>
                <a:spcPct val="95000"/>
              </a:lnSpc>
              <a:defRPr sz="2000"/>
            </a:lvl4pPr>
            <a:lvl5pPr>
              <a:lnSpc>
                <a:spcPct val="95000"/>
              </a:lnSpc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0" name="Päivämäärän paikkamerkki 26">
            <a:extLst>
              <a:ext uri="{FF2B5EF4-FFF2-40B4-BE49-F238E27FC236}">
                <a16:creationId xmlns:a16="http://schemas.microsoft.com/office/drawing/2014/main" id="{375E1E1D-6476-B24E-9439-E0B9B3C87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532285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8ABD86A-50F7-4FF8-B5BD-F197CA96B25E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11" name="Alatunnisteen paikkamerkki 32">
            <a:extLst>
              <a:ext uri="{FF2B5EF4-FFF2-40B4-BE49-F238E27FC236}">
                <a16:creationId xmlns:a16="http://schemas.microsoft.com/office/drawing/2014/main" id="{89A5C30F-57A2-444C-8A8A-38E4D9DFB2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i-FI" noProof="0" dirty="0"/>
          </a:p>
        </p:txBody>
      </p:sp>
      <p:sp>
        <p:nvSpPr>
          <p:cNvPr id="12" name="Dian numeron paikkamerkki 33">
            <a:extLst>
              <a:ext uri="{FF2B5EF4-FFF2-40B4-BE49-F238E27FC236}">
                <a16:creationId xmlns:a16="http://schemas.microsoft.com/office/drawing/2014/main" id="{20A0056F-9BF4-9B46-96DF-6388F205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>
                <a:solidFill>
                  <a:srgbClr val="63656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100642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äivämäärän paikkamerkki 26">
            <a:extLst>
              <a:ext uri="{FF2B5EF4-FFF2-40B4-BE49-F238E27FC236}">
                <a16:creationId xmlns:a16="http://schemas.microsoft.com/office/drawing/2014/main" id="{5FC4172B-E2DF-45DF-8005-A1DF79C6F5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88029" y="6428884"/>
            <a:ext cx="14721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 b="0" i="0">
                <a:solidFill>
                  <a:srgbClr val="636569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fld id="{7435051E-0F01-4331-8AF4-63FCD666128A}" type="datetime1">
              <a:rPr lang="fi-FI" smtClean="0"/>
              <a:t>18.12.2023</a:t>
            </a:fld>
            <a:endParaRPr lang="fi-FI" dirty="0"/>
          </a:p>
        </p:txBody>
      </p:sp>
      <p:sp>
        <p:nvSpPr>
          <p:cNvPr id="33" name="Alatunnisteen paikkamerkki 32">
            <a:extLst>
              <a:ext uri="{FF2B5EF4-FFF2-40B4-BE49-F238E27FC236}">
                <a16:creationId xmlns:a16="http://schemas.microsoft.com/office/drawing/2014/main" id="{79A50DE0-6A72-4908-BD48-731E6012A8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8064" y="6428884"/>
            <a:ext cx="3034428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100" b="0" i="0">
                <a:solidFill>
                  <a:srgbClr val="636569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endParaRPr lang="fi-FI" dirty="0"/>
          </a:p>
        </p:txBody>
      </p:sp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C0D29D6-1403-404B-A4AB-F78849F2D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719" y="644233"/>
            <a:ext cx="9216720" cy="7823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fi-FI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781723" y="1764002"/>
            <a:ext cx="10632359" cy="44497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34" name="Dian numeron paikkamerkki 33">
            <a:extLst>
              <a:ext uri="{FF2B5EF4-FFF2-40B4-BE49-F238E27FC236}">
                <a16:creationId xmlns:a16="http://schemas.microsoft.com/office/drawing/2014/main" id="{8672CF3E-8868-46E2-B3F8-EC898F6E99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6951" y="6428884"/>
            <a:ext cx="647131" cy="2446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100" b="0" i="0">
                <a:solidFill>
                  <a:srgbClr val="636569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fld id="{2E46437E-D3FF-48BE-9DB0-E927655FE322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2E2F146-4313-9C43-BC72-E51D3A8D8C44}"/>
              </a:ext>
            </a:extLst>
          </p:cNvPr>
          <p:cNvPicPr>
            <a:picLocks noChangeAspect="1"/>
          </p:cNvPicPr>
          <p:nvPr userDrawn="1"/>
        </p:nvPicPr>
        <p:blipFill>
          <a:blip r:embed="rId47"/>
          <a:stretch>
            <a:fillRect/>
          </a:stretch>
        </p:blipFill>
        <p:spPr>
          <a:xfrm>
            <a:off x="10734685" y="287947"/>
            <a:ext cx="1171611" cy="356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33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860" r:id="rId2"/>
    <p:sldLayoutId id="2147483861" r:id="rId3"/>
    <p:sldLayoutId id="2147483862" r:id="rId4"/>
    <p:sldLayoutId id="2147483867" r:id="rId5"/>
    <p:sldLayoutId id="2147483868" r:id="rId6"/>
    <p:sldLayoutId id="2147483751" r:id="rId7"/>
    <p:sldLayoutId id="2147483910" r:id="rId8"/>
    <p:sldLayoutId id="2147483911" r:id="rId9"/>
    <p:sldLayoutId id="2147483829" r:id="rId10"/>
    <p:sldLayoutId id="2147483906" r:id="rId11"/>
    <p:sldLayoutId id="2147483905" r:id="rId12"/>
    <p:sldLayoutId id="2147483904" r:id="rId13"/>
    <p:sldLayoutId id="2147483907" r:id="rId14"/>
    <p:sldLayoutId id="2147483908" r:id="rId15"/>
    <p:sldLayoutId id="2147483909" r:id="rId16"/>
    <p:sldLayoutId id="2147483902" r:id="rId17"/>
    <p:sldLayoutId id="2147483903" r:id="rId18"/>
    <p:sldLayoutId id="2147483852" r:id="rId19"/>
    <p:sldLayoutId id="2147483912" r:id="rId20"/>
    <p:sldLayoutId id="2147483913" r:id="rId21"/>
    <p:sldLayoutId id="2147483914" r:id="rId22"/>
    <p:sldLayoutId id="2147483828" r:id="rId23"/>
    <p:sldLayoutId id="2147483899" r:id="rId24"/>
    <p:sldLayoutId id="2147483900" r:id="rId25"/>
    <p:sldLayoutId id="2147483830" r:id="rId26"/>
    <p:sldLayoutId id="2147483853" r:id="rId27"/>
    <p:sldLayoutId id="2147483850" r:id="rId28"/>
    <p:sldLayoutId id="2147483897" r:id="rId29"/>
    <p:sldLayoutId id="2147483831" r:id="rId30"/>
    <p:sldLayoutId id="2147483854" r:id="rId31"/>
    <p:sldLayoutId id="2147483849" r:id="rId32"/>
    <p:sldLayoutId id="2147483893" r:id="rId33"/>
    <p:sldLayoutId id="2147483872" r:id="rId34"/>
    <p:sldLayoutId id="2147483894" r:id="rId35"/>
    <p:sldLayoutId id="2147483895" r:id="rId36"/>
    <p:sldLayoutId id="2147483896" r:id="rId37"/>
    <p:sldLayoutId id="2147483874" r:id="rId38"/>
    <p:sldLayoutId id="2147483689" r:id="rId39"/>
    <p:sldLayoutId id="2147483690" r:id="rId40"/>
    <p:sldLayoutId id="2147483873" r:id="rId41"/>
    <p:sldLayoutId id="2147483775" r:id="rId42"/>
    <p:sldLayoutId id="2147483833" r:id="rId43"/>
    <p:sldLayoutId id="2147483918" r:id="rId44"/>
    <p:sldLayoutId id="2147483919" r:id="rId45"/>
  </p:sldLayoutIdLst>
  <p:hf hdr="0"/>
  <p:txStyles>
    <p:titleStyle>
      <a:lvl1pPr algn="l" defTabSz="914403" rtl="0" eaLnBrk="1" latinLnBrk="0" hangingPunct="1">
        <a:lnSpc>
          <a:spcPct val="90000"/>
        </a:lnSpc>
        <a:spcBef>
          <a:spcPct val="0"/>
        </a:spcBef>
        <a:buNone/>
        <a:defRPr sz="3200" b="1" i="0" kern="1200" cap="none">
          <a:solidFill>
            <a:schemeClr val="bg2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266708" indent="-266708" algn="l" defTabSz="531828" rtl="0" eaLnBrk="1" latinLnBrk="0" hangingPunct="1">
        <a:lnSpc>
          <a:spcPct val="90000"/>
        </a:lnSpc>
        <a:spcBef>
          <a:spcPts val="1000"/>
        </a:spcBef>
        <a:buClr>
          <a:srgbClr val="3F7397"/>
        </a:buClr>
        <a:buSzPct val="90000"/>
        <a:buFont typeface="Arial"/>
        <a:buChar char="•"/>
        <a:defRPr sz="2200" b="0" i="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1pPr>
      <a:lvl2pPr marL="723920" indent="-192093" algn="l" defTabSz="914403" rtl="0" eaLnBrk="1" latinLnBrk="0" hangingPunct="1">
        <a:lnSpc>
          <a:spcPct val="90000"/>
        </a:lnSpc>
        <a:spcBef>
          <a:spcPts val="1000"/>
        </a:spcBef>
        <a:buClr>
          <a:srgbClr val="3F7397"/>
        </a:buClr>
        <a:buSzPct val="90000"/>
        <a:buFont typeface="Arial" panose="020B0604020202020204" pitchFamily="34" charset="0"/>
        <a:buChar char="•"/>
        <a:defRPr sz="2200" b="0" i="1" kern="1200">
          <a:solidFill>
            <a:srgbClr val="636569"/>
          </a:solidFill>
          <a:latin typeface="+mn-lt"/>
          <a:ea typeface="+mn-ea"/>
          <a:cs typeface="Calibri" panose="020F0502020204030204" pitchFamily="34" charset="0"/>
        </a:defRPr>
      </a:lvl2pPr>
      <a:lvl3pPr marL="900139" indent="-176218" algn="l" defTabSz="914403" rtl="0" eaLnBrk="1" latinLnBrk="0" hangingPunct="1">
        <a:lnSpc>
          <a:spcPct val="90000"/>
        </a:lnSpc>
        <a:spcBef>
          <a:spcPts val="1000"/>
        </a:spcBef>
        <a:buClr>
          <a:srgbClr val="3F7397"/>
        </a:buClr>
        <a:buSzPct val="90000"/>
        <a:buFont typeface="Arial" panose="020B0604020202020204" pitchFamily="34" charset="0"/>
        <a:buChar char="•"/>
        <a:defRPr sz="2200" b="0" i="1" kern="1200">
          <a:solidFill>
            <a:srgbClr val="636569"/>
          </a:solidFill>
          <a:latin typeface="+mn-lt"/>
          <a:ea typeface="+mn-ea"/>
          <a:cs typeface="Calibri" panose="020F0502020204030204" pitchFamily="34" charset="0"/>
        </a:defRPr>
      </a:lvl3pPr>
      <a:lvl4pPr marL="1077943" indent="-185743" algn="l" defTabSz="914403" rtl="0" eaLnBrk="1" latinLnBrk="0" hangingPunct="1">
        <a:lnSpc>
          <a:spcPct val="90000"/>
        </a:lnSpc>
        <a:spcBef>
          <a:spcPts val="1000"/>
        </a:spcBef>
        <a:buClr>
          <a:srgbClr val="3F7397"/>
        </a:buClr>
        <a:buSzPct val="90000"/>
        <a:buFont typeface="Arial" panose="020B0604020202020204" pitchFamily="34" charset="0"/>
        <a:buChar char="•"/>
        <a:defRPr sz="2200" b="0" i="1" kern="1200">
          <a:solidFill>
            <a:srgbClr val="636569"/>
          </a:solidFill>
          <a:latin typeface="+mn-lt"/>
          <a:ea typeface="+mn-ea"/>
          <a:cs typeface="Calibri" panose="020F0502020204030204" pitchFamily="34" charset="0"/>
        </a:defRPr>
      </a:lvl4pPr>
      <a:lvl5pPr marL="1255748" indent="-177805" algn="l" defTabSz="941414" rtl="0" eaLnBrk="1" latinLnBrk="0" hangingPunct="1">
        <a:lnSpc>
          <a:spcPct val="90000"/>
        </a:lnSpc>
        <a:spcBef>
          <a:spcPts val="1000"/>
        </a:spcBef>
        <a:buClr>
          <a:srgbClr val="3F7397"/>
        </a:buClr>
        <a:buSzPct val="90000"/>
        <a:buFont typeface="Arial" panose="020B0604020202020204" pitchFamily="34" charset="0"/>
        <a:buChar char="•"/>
        <a:tabLst/>
        <a:defRPr sz="2200" b="0" i="1" kern="1200">
          <a:solidFill>
            <a:srgbClr val="636569"/>
          </a:solidFill>
          <a:latin typeface="+mn-lt"/>
          <a:ea typeface="+mn-ea"/>
          <a:cs typeface="Calibri" panose="020F0502020204030204" pitchFamily="34" charset="0"/>
        </a:defRPr>
      </a:lvl5pPr>
      <a:lvl6pPr marL="1433553" indent="-177805" algn="l" defTabSz="914403" rtl="0" eaLnBrk="1" latinLnBrk="0" hangingPunct="1">
        <a:lnSpc>
          <a:spcPct val="90000"/>
        </a:lnSpc>
        <a:spcBef>
          <a:spcPts val="500"/>
        </a:spcBef>
        <a:buSzPct val="90000"/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6pPr>
      <a:lvl7pPr marL="1609770" indent="-176218" algn="l" defTabSz="914403" rtl="0" eaLnBrk="1" latinLnBrk="0" hangingPunct="1">
        <a:lnSpc>
          <a:spcPct val="90000"/>
        </a:lnSpc>
        <a:spcBef>
          <a:spcPts val="500"/>
        </a:spcBef>
        <a:buSzPct val="90000"/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7pPr>
      <a:lvl8pPr marL="1787575" indent="-177805" algn="l" defTabSz="914403" rtl="0" eaLnBrk="1" latinLnBrk="0" hangingPunct="1">
        <a:lnSpc>
          <a:spcPct val="90000"/>
        </a:lnSpc>
        <a:spcBef>
          <a:spcPts val="500"/>
        </a:spcBef>
        <a:buSzPct val="90000"/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8pPr>
      <a:lvl9pPr marL="1787575" indent="0" algn="l" defTabSz="9144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2" algn="l" defTabSz="91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3" algn="l" defTabSz="91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5" algn="l" defTabSz="91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5" algn="l" defTabSz="91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7" algn="l" defTabSz="91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8" algn="l" defTabSz="91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10" algn="l" defTabSz="91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11" algn="l" defTabSz="91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image" Target="../media/image33.png"/><Relationship Id="rId7" Type="http://schemas.openxmlformats.org/officeDocument/2006/relationships/image" Target="../media/image36.png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35.jpeg"/><Relationship Id="rId5" Type="http://schemas.openxmlformats.org/officeDocument/2006/relationships/image" Target="../media/image34.png"/><Relationship Id="rId10" Type="http://schemas.openxmlformats.org/officeDocument/2006/relationships/hyperlink" Target="https://www.wise-uranium.org/nfcm.html" TargetMode="External"/><Relationship Id="rId4" Type="http://schemas.microsoft.com/office/2007/relationships/hdphoto" Target="../media/hdphoto1.wdp"/><Relationship Id="rId9" Type="http://schemas.openxmlformats.org/officeDocument/2006/relationships/image" Target="../media/image38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openhagenatomics.com/" TargetMode="External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utoracing1.com/pl/413299/toyota-ceo-our-ammonia-engine-will-be-the-end-of-evs/" TargetMode="Externa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51.jp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4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4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netzeroamerica.princeton.edu/?explorer=pathway&amp;state=national&amp;table=e-positive&amp;limit=200" TargetMode="External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40.xml"/><Relationship Id="rId4" Type="http://schemas.openxmlformats.org/officeDocument/2006/relationships/hyperlink" Target="https://www.econstor.eu/bitstream/10419/236723/1/Ruhnau-and-Qvist-2021-Storage-requirements-in-a-100-renewable-electricity-system-EconStor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31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0.png"/><Relationship Id="rId5" Type="http://schemas.openxmlformats.org/officeDocument/2006/relationships/hyperlink" Target="https://thethoriumnetwork.com/2022/05/03/%e3%83%91%e3%83%bc%e3%83%95%e3%82%a7%e3%82%af%e3%83%88%e3%83%86%e3%82%af%e3%83%8e%e3%83%ad%e3%82%b8%e3%83%bc-%e3%83%90%e3%82%a4%e3%83%aa%e3%83%b3%e3%82%ac%e3%83%ab%e8%a8%98%e4%ba%8b-%e6%97%a5%e6%9c%ac/" TargetMode="External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orakulmio 7">
            <a:extLst>
              <a:ext uri="{FF2B5EF4-FFF2-40B4-BE49-F238E27FC236}">
                <a16:creationId xmlns:a16="http://schemas.microsoft.com/office/drawing/2014/main" id="{EA1FE8FF-A62F-1463-D40C-BD9C1E3901D7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32000">
                <a:schemeClr val="tx1">
                  <a:alpha val="10000"/>
                </a:schemeClr>
              </a:gs>
              <a:gs pos="46000">
                <a:schemeClr val="tx1">
                  <a:alpha val="30000"/>
                </a:schemeClr>
              </a:gs>
              <a:gs pos="60000">
                <a:schemeClr val="tx1">
                  <a:alpha val="60000"/>
                </a:schemeClr>
              </a:gs>
              <a:gs pos="84000">
                <a:schemeClr val="tx1">
                  <a:alpha val="80000"/>
                </a:schemeClr>
              </a:gs>
            </a:gsLst>
            <a:lin ang="8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DCCA8BB5-87B1-4421-9D80-C9F1926279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8335" y="1472639"/>
            <a:ext cx="6252972" cy="1979772"/>
          </a:xfrm>
        </p:spPr>
        <p:txBody>
          <a:bodyPr>
            <a:normAutofit fontScale="90000"/>
          </a:bodyPr>
          <a:lstStyle/>
          <a:p>
            <a:r>
              <a:rPr lang="en-US" dirty="0"/>
              <a:t>Black Swans, White Swans and the Purple Transition</a:t>
            </a:r>
            <a:br>
              <a:rPr lang="en-US" dirty="0"/>
            </a:br>
            <a:endParaRPr lang="fi-FI" noProof="0" dirty="0"/>
          </a:p>
        </p:txBody>
      </p:sp>
      <p:sp>
        <p:nvSpPr>
          <p:cNvPr id="7" name="Alaotsikko 6">
            <a:extLst>
              <a:ext uri="{FF2B5EF4-FFF2-40B4-BE49-F238E27FC236}">
                <a16:creationId xmlns:a16="http://schemas.microsoft.com/office/drawing/2014/main" id="{E8CD7E03-60F0-4190-9687-EAE4F5C4875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noProof="0" dirty="0"/>
              <a:t>Simon P. Michaux</a:t>
            </a:r>
          </a:p>
          <a:p>
            <a:r>
              <a:rPr lang="it-IT" noProof="0" dirty="0"/>
              <a:t>Associate Professor Mineral Processing &amp; Geometallurgy</a:t>
            </a:r>
          </a:p>
        </p:txBody>
      </p:sp>
      <p:pic>
        <p:nvPicPr>
          <p:cNvPr id="5" name="Picture 4" descr="GTK-logo_valkoinen@2x.png">
            <a:extLst>
              <a:ext uri="{FF2B5EF4-FFF2-40B4-BE49-F238E27FC236}">
                <a16:creationId xmlns:a16="http://schemas.microsoft.com/office/drawing/2014/main" id="{7508BD49-181A-3627-AB51-5D5B1C4C9B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6575" y="276427"/>
            <a:ext cx="1245394" cy="37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3147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84" name="Picture 7283">
            <a:extLst>
              <a:ext uri="{FF2B5EF4-FFF2-40B4-BE49-F238E27FC236}">
                <a16:creationId xmlns:a16="http://schemas.microsoft.com/office/drawing/2014/main" id="{500CF6F7-8D72-2F18-2D75-ED4BFDE41B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4145" y="5740484"/>
            <a:ext cx="811855" cy="817613"/>
          </a:xfrm>
          <a:prstGeom prst="rect">
            <a:avLst/>
          </a:prstGeom>
        </p:spPr>
      </p:pic>
      <p:grpSp>
        <p:nvGrpSpPr>
          <p:cNvPr id="7291" name="Group 7290">
            <a:extLst>
              <a:ext uri="{FF2B5EF4-FFF2-40B4-BE49-F238E27FC236}">
                <a16:creationId xmlns:a16="http://schemas.microsoft.com/office/drawing/2014/main" id="{46C5A99E-088F-C5DF-7460-87E8B3E8E88D}"/>
              </a:ext>
            </a:extLst>
          </p:cNvPr>
          <p:cNvGrpSpPr/>
          <p:nvPr/>
        </p:nvGrpSpPr>
        <p:grpSpPr>
          <a:xfrm>
            <a:off x="6264858" y="4459967"/>
            <a:ext cx="2585350" cy="1769681"/>
            <a:chOff x="6256060" y="1436220"/>
            <a:chExt cx="2585350" cy="1769681"/>
          </a:xfrm>
        </p:grpSpPr>
        <p:cxnSp>
          <p:nvCxnSpPr>
            <p:cNvPr id="7178" name="Connector: Elbow 7177">
              <a:extLst>
                <a:ext uri="{FF2B5EF4-FFF2-40B4-BE49-F238E27FC236}">
                  <a16:creationId xmlns:a16="http://schemas.microsoft.com/office/drawing/2014/main" id="{3984D846-FE49-3807-4379-D7E12636F5E6}"/>
                </a:ext>
              </a:extLst>
            </p:cNvPr>
            <p:cNvCxnSpPr>
              <a:cxnSpLocks/>
              <a:stCxn id="7244" idx="3"/>
              <a:endCxn id="7182" idx="1"/>
            </p:cNvCxnSpPr>
            <p:nvPr/>
          </p:nvCxnSpPr>
          <p:spPr>
            <a:xfrm>
              <a:off x="6256060" y="1791398"/>
              <a:ext cx="1097836" cy="16595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82" name="Picture 4" descr="Electricity Symbol png download - 906*980 - Free Transparent Electricity  png Download. - CleanPNG / KissPNG">
              <a:extLst>
                <a:ext uri="{FF2B5EF4-FFF2-40B4-BE49-F238E27FC236}">
                  <a16:creationId xmlns:a16="http://schemas.microsoft.com/office/drawing/2014/main" id="{05E0D691-10AD-9470-F814-4244745EF8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72000" contrast="2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3896" y="1436220"/>
              <a:ext cx="957098" cy="10422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92" name="TextBox 7191">
              <a:extLst>
                <a:ext uri="{FF2B5EF4-FFF2-40B4-BE49-F238E27FC236}">
                  <a16:creationId xmlns:a16="http://schemas.microsoft.com/office/drawing/2014/main" id="{0828441F-B748-6745-2B10-09460205013E}"/>
                </a:ext>
              </a:extLst>
            </p:cNvPr>
            <p:cNvSpPr txBox="1"/>
            <p:nvPr/>
          </p:nvSpPr>
          <p:spPr>
            <a:xfrm>
              <a:off x="6786607" y="2467237"/>
              <a:ext cx="205480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10 000 GWh of electrical power is generated</a:t>
              </a:r>
            </a:p>
            <a:p>
              <a:pPr algn="ctr"/>
              <a:r>
                <a:rPr lang="en-US" sz="1400" b="1" dirty="0"/>
                <a:t>(365 days)</a:t>
              </a:r>
            </a:p>
          </p:txBody>
        </p:sp>
      </p:grpSp>
      <p:grpSp>
        <p:nvGrpSpPr>
          <p:cNvPr id="7293" name="Group 7292">
            <a:extLst>
              <a:ext uri="{FF2B5EF4-FFF2-40B4-BE49-F238E27FC236}">
                <a16:creationId xmlns:a16="http://schemas.microsoft.com/office/drawing/2014/main" id="{3A2D2A13-A8E1-66C3-C66B-6B7525D150A0}"/>
              </a:ext>
            </a:extLst>
          </p:cNvPr>
          <p:cNvGrpSpPr/>
          <p:nvPr/>
        </p:nvGrpSpPr>
        <p:grpSpPr>
          <a:xfrm>
            <a:off x="198979" y="1080115"/>
            <a:ext cx="2907357" cy="2213570"/>
            <a:chOff x="390" y="4073424"/>
            <a:chExt cx="2907357" cy="2213570"/>
          </a:xfrm>
        </p:grpSpPr>
        <p:pic>
          <p:nvPicPr>
            <p:cNvPr id="7184" name="Google Shape;138;p20">
              <a:extLst>
                <a:ext uri="{FF2B5EF4-FFF2-40B4-BE49-F238E27FC236}">
                  <a16:creationId xmlns:a16="http://schemas.microsoft.com/office/drawing/2014/main" id="{26DEB82F-199E-A34B-2C55-59994F7D07F7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 l="9360" t="3605" r="8531"/>
            <a:stretch/>
          </p:blipFill>
          <p:spPr>
            <a:xfrm>
              <a:off x="672878" y="4073424"/>
              <a:ext cx="1540778" cy="128878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193" name="TextBox 7192">
              <a:extLst>
                <a:ext uri="{FF2B5EF4-FFF2-40B4-BE49-F238E27FC236}">
                  <a16:creationId xmlns:a16="http://schemas.microsoft.com/office/drawing/2014/main" id="{336A0002-5DC7-E6AB-6BDB-CD4725B95B9D}"/>
                </a:ext>
              </a:extLst>
            </p:cNvPr>
            <p:cNvSpPr txBox="1"/>
            <p:nvPr/>
          </p:nvSpPr>
          <p:spPr>
            <a:xfrm>
              <a:off x="390" y="5548330"/>
              <a:ext cx="2907357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70C0"/>
                  </a:solidFill>
                </a:rPr>
                <a:t>1.45 tonne of natural ThO</a:t>
              </a:r>
              <a:r>
                <a:rPr lang="en-US" sz="1400" baseline="-25000" dirty="0">
                  <a:solidFill>
                    <a:srgbClr val="0070C0"/>
                  </a:solidFill>
                </a:rPr>
                <a:t>2</a:t>
              </a:r>
              <a:r>
                <a:rPr lang="en-US" sz="1400" dirty="0">
                  <a:solidFill>
                    <a:srgbClr val="0070C0"/>
                  </a:solidFill>
                </a:rPr>
                <a:t> mined from approx. 280 tonne of monazite mineral sands (@0.5% grade Th)</a:t>
              </a:r>
            </a:p>
          </p:txBody>
        </p:sp>
      </p:grpSp>
      <p:grpSp>
        <p:nvGrpSpPr>
          <p:cNvPr id="7294" name="Group 7293">
            <a:extLst>
              <a:ext uri="{FF2B5EF4-FFF2-40B4-BE49-F238E27FC236}">
                <a16:creationId xmlns:a16="http://schemas.microsoft.com/office/drawing/2014/main" id="{539BFE6D-A3B2-88E7-CDE7-8474C2AD35F0}"/>
              </a:ext>
            </a:extLst>
          </p:cNvPr>
          <p:cNvGrpSpPr/>
          <p:nvPr/>
        </p:nvGrpSpPr>
        <p:grpSpPr>
          <a:xfrm>
            <a:off x="2412245" y="1080718"/>
            <a:ext cx="2841709" cy="1951356"/>
            <a:chOff x="2206797" y="4150011"/>
            <a:chExt cx="2841709" cy="1951356"/>
          </a:xfrm>
        </p:grpSpPr>
        <p:cxnSp>
          <p:nvCxnSpPr>
            <p:cNvPr id="7179" name="Connector: Elbow 7178">
              <a:extLst>
                <a:ext uri="{FF2B5EF4-FFF2-40B4-BE49-F238E27FC236}">
                  <a16:creationId xmlns:a16="http://schemas.microsoft.com/office/drawing/2014/main" id="{59AC1518-4CDE-B04A-9CCA-FC6661974E67}"/>
                </a:ext>
              </a:extLst>
            </p:cNvPr>
            <p:cNvCxnSpPr>
              <a:cxnSpLocks/>
              <a:stCxn id="7184" idx="3"/>
              <a:endCxn id="7185" idx="1"/>
            </p:cNvCxnSpPr>
            <p:nvPr/>
          </p:nvCxnSpPr>
          <p:spPr>
            <a:xfrm>
              <a:off x="2206797" y="4793802"/>
              <a:ext cx="908379" cy="603"/>
            </a:xfrm>
            <a:prstGeom prst="bentConnector3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85" name="Picture 8" descr="Thorium Fluoride Powder">
              <a:extLst>
                <a:ext uri="{FF2B5EF4-FFF2-40B4-BE49-F238E27FC236}">
                  <a16:creationId xmlns:a16="http://schemas.microsoft.com/office/drawing/2014/main" id="{3C7B59CE-D55B-AE34-B28D-651A6C201E9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044"/>
            <a:stretch/>
          </p:blipFill>
          <p:spPr bwMode="auto">
            <a:xfrm>
              <a:off x="3115176" y="4150011"/>
              <a:ext cx="1933330" cy="1288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94" name="TextBox 7193">
              <a:extLst>
                <a:ext uri="{FF2B5EF4-FFF2-40B4-BE49-F238E27FC236}">
                  <a16:creationId xmlns:a16="http://schemas.microsoft.com/office/drawing/2014/main" id="{7642B1EE-7D65-7598-B02B-EE9CD3B2A9FA}"/>
                </a:ext>
              </a:extLst>
            </p:cNvPr>
            <p:cNvSpPr txBox="1"/>
            <p:nvPr/>
          </p:nvSpPr>
          <p:spPr>
            <a:xfrm>
              <a:off x="3089475" y="5578147"/>
              <a:ext cx="19398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70C0"/>
                  </a:solidFill>
                </a:rPr>
                <a:t>1.34 tonne of </a:t>
              </a:r>
              <a:r>
                <a:rPr lang="en-US" sz="1400" baseline="30000" dirty="0">
                  <a:solidFill>
                    <a:srgbClr val="0070C0"/>
                  </a:solidFill>
                </a:rPr>
                <a:t>232</a:t>
              </a:r>
              <a:r>
                <a:rPr lang="en-US" sz="1400" dirty="0">
                  <a:solidFill>
                    <a:srgbClr val="0070C0"/>
                  </a:solidFill>
                </a:rPr>
                <a:t>Th in Thorium fluoride salt</a:t>
              </a:r>
            </a:p>
          </p:txBody>
        </p:sp>
      </p:grpSp>
      <p:grpSp>
        <p:nvGrpSpPr>
          <p:cNvPr id="7292" name="Group 7291">
            <a:extLst>
              <a:ext uri="{FF2B5EF4-FFF2-40B4-BE49-F238E27FC236}">
                <a16:creationId xmlns:a16="http://schemas.microsoft.com/office/drawing/2014/main" id="{AAD8EFD1-B1E8-345F-7C09-7F50BEBA4E2E}"/>
              </a:ext>
            </a:extLst>
          </p:cNvPr>
          <p:cNvGrpSpPr/>
          <p:nvPr/>
        </p:nvGrpSpPr>
        <p:grpSpPr>
          <a:xfrm>
            <a:off x="3612126" y="4391631"/>
            <a:ext cx="8449720" cy="2283105"/>
            <a:chOff x="3588771" y="993352"/>
            <a:chExt cx="8449720" cy="2283105"/>
          </a:xfrm>
        </p:grpSpPr>
        <p:cxnSp>
          <p:nvCxnSpPr>
            <p:cNvPr id="7177" name="Connector: Elbow 7176">
              <a:extLst>
                <a:ext uri="{FF2B5EF4-FFF2-40B4-BE49-F238E27FC236}">
                  <a16:creationId xmlns:a16="http://schemas.microsoft.com/office/drawing/2014/main" id="{E01CAF9A-25FC-BF53-F609-1F01843F321B}"/>
                </a:ext>
              </a:extLst>
            </p:cNvPr>
            <p:cNvCxnSpPr>
              <a:cxnSpLocks/>
              <a:stCxn id="9" idx="3"/>
              <a:endCxn id="38" idx="1"/>
            </p:cNvCxnSpPr>
            <p:nvPr/>
          </p:nvCxnSpPr>
          <p:spPr>
            <a:xfrm>
              <a:off x="3588771" y="1395848"/>
              <a:ext cx="400881" cy="16618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83" name="Picture 6" descr="Radioactive Material Symbol Sign | Safety-Label.co.uk">
              <a:extLst>
                <a:ext uri="{FF2B5EF4-FFF2-40B4-BE49-F238E27FC236}">
                  <a16:creationId xmlns:a16="http://schemas.microsoft.com/office/drawing/2014/main" id="{57F78F80-5046-4C07-D8E7-47D3985D197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21" t="12936" r="12821" b="15385"/>
            <a:stretch/>
          </p:blipFill>
          <p:spPr bwMode="auto">
            <a:xfrm>
              <a:off x="9836200" y="993352"/>
              <a:ext cx="784326" cy="7560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96" name="TextBox 7195">
              <a:extLst>
                <a:ext uri="{FF2B5EF4-FFF2-40B4-BE49-F238E27FC236}">
                  <a16:creationId xmlns:a16="http://schemas.microsoft.com/office/drawing/2014/main" id="{8ECFD59F-BEF8-7F11-9312-23A98CE04981}"/>
                </a:ext>
              </a:extLst>
            </p:cNvPr>
            <p:cNvSpPr txBox="1"/>
            <p:nvPr/>
          </p:nvSpPr>
          <p:spPr>
            <a:xfrm>
              <a:off x="10609547" y="1024697"/>
              <a:ext cx="134950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96% Waste fuel SNF</a:t>
              </a:r>
              <a:endParaRPr lang="en-FI" b="1" dirty="0"/>
            </a:p>
          </p:txBody>
        </p:sp>
        <p:pic>
          <p:nvPicPr>
            <p:cNvPr id="7202" name="Picture 7201">
              <a:extLst>
                <a:ext uri="{FF2B5EF4-FFF2-40B4-BE49-F238E27FC236}">
                  <a16:creationId xmlns:a16="http://schemas.microsoft.com/office/drawing/2014/main" id="{4FAF40EA-90F1-6508-876D-D8DEAD294BE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069739" y="1749409"/>
              <a:ext cx="2968752" cy="1527048"/>
            </a:xfrm>
            <a:prstGeom prst="rect">
              <a:avLst/>
            </a:prstGeom>
            <a:solidFill>
              <a:schemeClr val="bg1"/>
            </a:solidFill>
          </p:spPr>
        </p:pic>
      </p:grpSp>
      <p:grpSp>
        <p:nvGrpSpPr>
          <p:cNvPr id="7288" name="Group 7287">
            <a:extLst>
              <a:ext uri="{FF2B5EF4-FFF2-40B4-BE49-F238E27FC236}">
                <a16:creationId xmlns:a16="http://schemas.microsoft.com/office/drawing/2014/main" id="{C8D75B81-1CAB-998D-6FB8-4B37A4ED0CD4}"/>
              </a:ext>
            </a:extLst>
          </p:cNvPr>
          <p:cNvGrpSpPr/>
          <p:nvPr/>
        </p:nvGrpSpPr>
        <p:grpSpPr>
          <a:xfrm>
            <a:off x="2042121" y="4316024"/>
            <a:ext cx="2011176" cy="1570938"/>
            <a:chOff x="1933707" y="892092"/>
            <a:chExt cx="2011176" cy="1570938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88097E58-2168-F757-9D87-25A4142BFE4C}"/>
                </a:ext>
              </a:extLst>
            </p:cNvPr>
            <p:cNvSpPr/>
            <p:nvPr/>
          </p:nvSpPr>
          <p:spPr>
            <a:xfrm>
              <a:off x="2571523" y="898819"/>
              <a:ext cx="244747" cy="946005"/>
            </a:xfrm>
            <a:prstGeom prst="roundRect">
              <a:avLst>
                <a:gd name="adj" fmla="val 47091"/>
              </a:avLst>
            </a:prstGeom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EE31F34F-C33B-361D-EE7F-97ADE9CBD17C}"/>
                </a:ext>
              </a:extLst>
            </p:cNvPr>
            <p:cNvSpPr/>
            <p:nvPr/>
          </p:nvSpPr>
          <p:spPr>
            <a:xfrm>
              <a:off x="2893908" y="892092"/>
              <a:ext cx="244747" cy="946005"/>
            </a:xfrm>
            <a:prstGeom prst="roundRect">
              <a:avLst>
                <a:gd name="adj" fmla="val 47091"/>
              </a:avLst>
            </a:prstGeom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FDAA598-A43D-4DD5-6DC8-B61717487EFC}"/>
                </a:ext>
              </a:extLst>
            </p:cNvPr>
            <p:cNvSpPr/>
            <p:nvPr/>
          </p:nvSpPr>
          <p:spPr>
            <a:xfrm>
              <a:off x="3258965" y="897192"/>
              <a:ext cx="244747" cy="946005"/>
            </a:xfrm>
            <a:prstGeom prst="roundRect">
              <a:avLst>
                <a:gd name="adj" fmla="val 47091"/>
              </a:avLst>
            </a:prstGeom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cxnSp>
          <p:nvCxnSpPr>
            <p:cNvPr id="11" name="Connector: Elbow 10">
              <a:extLst>
                <a:ext uri="{FF2B5EF4-FFF2-40B4-BE49-F238E27FC236}">
                  <a16:creationId xmlns:a16="http://schemas.microsoft.com/office/drawing/2014/main" id="{A9B5B756-663F-4DCF-7E7D-9EBBC2183EE1}"/>
                </a:ext>
              </a:extLst>
            </p:cNvPr>
            <p:cNvCxnSpPr>
              <a:cxnSpLocks/>
              <a:stCxn id="7170" idx="3"/>
              <a:endCxn id="7" idx="1"/>
            </p:cNvCxnSpPr>
            <p:nvPr/>
          </p:nvCxnSpPr>
          <p:spPr>
            <a:xfrm flipV="1">
              <a:off x="1933707" y="1371822"/>
              <a:ext cx="637816" cy="1561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89" name="TextBox 7188">
              <a:extLst>
                <a:ext uri="{FF2B5EF4-FFF2-40B4-BE49-F238E27FC236}">
                  <a16:creationId xmlns:a16="http://schemas.microsoft.com/office/drawing/2014/main" id="{5D8FDCD6-6F4D-7B54-3671-6C75DA42459E}"/>
                </a:ext>
              </a:extLst>
            </p:cNvPr>
            <p:cNvSpPr txBox="1"/>
            <p:nvPr/>
          </p:nvSpPr>
          <p:spPr>
            <a:xfrm>
              <a:off x="2231124" y="2001365"/>
              <a:ext cx="171375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onversion of U</a:t>
              </a:r>
              <a:r>
                <a:rPr lang="en-US" sz="1200" baseline="-25000" dirty="0"/>
                <a:t>3</a:t>
              </a:r>
              <a:r>
                <a:rPr lang="en-US" sz="1200" dirty="0"/>
                <a:t>O</a:t>
              </a:r>
              <a:r>
                <a:rPr lang="en-US" sz="1200" baseline="-25000" dirty="0"/>
                <a:t>8</a:t>
              </a:r>
              <a:r>
                <a:rPr lang="en-US" sz="1200" dirty="0"/>
                <a:t>  to UF</a:t>
              </a:r>
              <a:r>
                <a:rPr lang="en-US" sz="1200" baseline="-25000" dirty="0"/>
                <a:t>6</a:t>
              </a:r>
              <a:r>
                <a:rPr lang="en-US" sz="1200" dirty="0"/>
                <a:t> (347.9 tonne)</a:t>
              </a:r>
            </a:p>
          </p:txBody>
        </p:sp>
        <p:pic>
          <p:nvPicPr>
            <p:cNvPr id="7243" name="Picture 6" descr="Radioactive Material Symbol Sign | Safety-Label.co.uk">
              <a:extLst>
                <a:ext uri="{FF2B5EF4-FFF2-40B4-BE49-F238E27FC236}">
                  <a16:creationId xmlns:a16="http://schemas.microsoft.com/office/drawing/2014/main" id="{369BE442-C51A-EEBD-9E56-EFF9A48DF6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21" t="12936" r="12821" b="15385"/>
            <a:stretch/>
          </p:blipFill>
          <p:spPr bwMode="auto">
            <a:xfrm>
              <a:off x="2712141" y="1095550"/>
              <a:ext cx="649255" cy="6258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297" name="Group 7296">
            <a:extLst>
              <a:ext uri="{FF2B5EF4-FFF2-40B4-BE49-F238E27FC236}">
                <a16:creationId xmlns:a16="http://schemas.microsoft.com/office/drawing/2014/main" id="{4770A313-54A8-B7E3-4FE5-21D475A8DA43}"/>
              </a:ext>
            </a:extLst>
          </p:cNvPr>
          <p:cNvGrpSpPr/>
          <p:nvPr/>
        </p:nvGrpSpPr>
        <p:grpSpPr>
          <a:xfrm>
            <a:off x="4972426" y="4271877"/>
            <a:ext cx="1911938" cy="2032138"/>
            <a:chOff x="5347258" y="1686761"/>
            <a:chExt cx="1911938" cy="2032138"/>
          </a:xfrm>
        </p:grpSpPr>
        <p:sp>
          <p:nvSpPr>
            <p:cNvPr id="7191" name="TextBox 7190">
              <a:extLst>
                <a:ext uri="{FF2B5EF4-FFF2-40B4-BE49-F238E27FC236}">
                  <a16:creationId xmlns:a16="http://schemas.microsoft.com/office/drawing/2014/main" id="{2504C20B-DF76-B055-D938-AE47C7499AA8}"/>
                </a:ext>
              </a:extLst>
            </p:cNvPr>
            <p:cNvSpPr txBox="1"/>
            <p:nvPr/>
          </p:nvSpPr>
          <p:spPr>
            <a:xfrm>
              <a:off x="5436217" y="2887902"/>
              <a:ext cx="182297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Nuclear fuel UO</a:t>
              </a:r>
              <a:r>
                <a:rPr lang="en-US" sz="1200" baseline="-25000" dirty="0"/>
                <a:t>2</a:t>
              </a:r>
              <a:r>
                <a:rPr lang="en-US" sz="1200" dirty="0"/>
                <a:t> assembly fabrication </a:t>
              </a:r>
            </a:p>
            <a:p>
              <a:pPr algn="ctr"/>
              <a:r>
                <a:rPr lang="en-US" sz="1200" dirty="0"/>
                <a:t>(32.9 tonne) </a:t>
              </a:r>
            </a:p>
            <a:p>
              <a:pPr algn="ctr"/>
              <a:r>
                <a:rPr lang="en-US" sz="1200" dirty="0"/>
                <a:t>with 4.9% </a:t>
              </a:r>
              <a:r>
                <a:rPr lang="en-US" sz="1200" baseline="30000" dirty="0"/>
                <a:t>235</a:t>
              </a:r>
              <a:r>
                <a:rPr lang="en-US" sz="1200" dirty="0"/>
                <a:t>U</a:t>
              </a:r>
            </a:p>
          </p:txBody>
        </p:sp>
        <p:grpSp>
          <p:nvGrpSpPr>
            <p:cNvPr id="7290" name="Group 7289">
              <a:extLst>
                <a:ext uri="{FF2B5EF4-FFF2-40B4-BE49-F238E27FC236}">
                  <a16:creationId xmlns:a16="http://schemas.microsoft.com/office/drawing/2014/main" id="{68075180-448E-9E0A-5503-D052A3F2AB68}"/>
                </a:ext>
              </a:extLst>
            </p:cNvPr>
            <p:cNvGrpSpPr/>
            <p:nvPr/>
          </p:nvGrpSpPr>
          <p:grpSpPr>
            <a:xfrm>
              <a:off x="5347258" y="1686761"/>
              <a:ext cx="1317303" cy="1054484"/>
              <a:chOff x="5347258" y="1686761"/>
              <a:chExt cx="1317303" cy="1054484"/>
            </a:xfrm>
          </p:grpSpPr>
          <p:cxnSp>
            <p:nvCxnSpPr>
              <p:cNvPr id="16" name="Connector: Elbow 15">
                <a:extLst>
                  <a:ext uri="{FF2B5EF4-FFF2-40B4-BE49-F238E27FC236}">
                    <a16:creationId xmlns:a16="http://schemas.microsoft.com/office/drawing/2014/main" id="{28A97917-462B-7B3F-1C44-6E99E4D4093A}"/>
                  </a:ext>
                </a:extLst>
              </p:cNvPr>
              <p:cNvCxnSpPr>
                <a:cxnSpLocks/>
                <a:stCxn id="40" idx="3"/>
                <a:endCxn id="31" idx="1"/>
              </p:cNvCxnSpPr>
              <p:nvPr/>
            </p:nvCxnSpPr>
            <p:spPr>
              <a:xfrm flipV="1">
                <a:off x="5347258" y="2214438"/>
                <a:ext cx="674030" cy="9564"/>
              </a:xfrm>
              <a:prstGeom prst="bentConnector3">
                <a:avLst>
                  <a:gd name="adj1" fmla="val 50000"/>
                </a:avLst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241" name="Group 7240">
                <a:extLst>
                  <a:ext uri="{FF2B5EF4-FFF2-40B4-BE49-F238E27FC236}">
                    <a16:creationId xmlns:a16="http://schemas.microsoft.com/office/drawing/2014/main" id="{F84BBFCE-47D4-EE2F-1900-01F8D64B513F}"/>
                  </a:ext>
                </a:extLst>
              </p:cNvPr>
              <p:cNvGrpSpPr/>
              <p:nvPr/>
            </p:nvGrpSpPr>
            <p:grpSpPr>
              <a:xfrm>
                <a:off x="6021288" y="1686761"/>
                <a:ext cx="643273" cy="1054484"/>
                <a:chOff x="6096000" y="834216"/>
                <a:chExt cx="643273" cy="1054484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123F2FB2-87B1-3AB5-ADAC-C464F00BF499}"/>
                    </a:ext>
                  </a:extLst>
                </p:cNvPr>
                <p:cNvSpPr/>
                <p:nvPr/>
              </p:nvSpPr>
              <p:spPr>
                <a:xfrm>
                  <a:off x="6096000" y="835085"/>
                  <a:ext cx="72008" cy="1053615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/>
                </a:p>
              </p:txBody>
            </p:sp>
            <p:sp>
              <p:nvSpPr>
                <p:cNvPr id="7168" name="Rectangle 7167">
                  <a:extLst>
                    <a:ext uri="{FF2B5EF4-FFF2-40B4-BE49-F238E27FC236}">
                      <a16:creationId xmlns:a16="http://schemas.microsoft.com/office/drawing/2014/main" id="{23A9B62A-CFA1-C47A-BE5E-217E2DDE8C08}"/>
                    </a:ext>
                  </a:extLst>
                </p:cNvPr>
                <p:cNvSpPr/>
                <p:nvPr/>
              </p:nvSpPr>
              <p:spPr>
                <a:xfrm>
                  <a:off x="6209993" y="835085"/>
                  <a:ext cx="72008" cy="1053615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/>
                </a:p>
              </p:txBody>
            </p:sp>
            <p:sp>
              <p:nvSpPr>
                <p:cNvPr id="7169" name="Rectangle 7168">
                  <a:extLst>
                    <a:ext uri="{FF2B5EF4-FFF2-40B4-BE49-F238E27FC236}">
                      <a16:creationId xmlns:a16="http://schemas.microsoft.com/office/drawing/2014/main" id="{59EECC86-EBEA-1A1B-D07A-F15D8939EE42}"/>
                    </a:ext>
                  </a:extLst>
                </p:cNvPr>
                <p:cNvSpPr/>
                <p:nvPr/>
              </p:nvSpPr>
              <p:spPr>
                <a:xfrm>
                  <a:off x="6323986" y="835085"/>
                  <a:ext cx="72008" cy="1053615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/>
                </a:p>
              </p:txBody>
            </p:sp>
            <p:sp>
              <p:nvSpPr>
                <p:cNvPr id="7171" name="Rectangle 7170">
                  <a:extLst>
                    <a:ext uri="{FF2B5EF4-FFF2-40B4-BE49-F238E27FC236}">
                      <a16:creationId xmlns:a16="http://schemas.microsoft.com/office/drawing/2014/main" id="{B120A65B-A9C7-2FE1-80FB-A5DC80C031DC}"/>
                    </a:ext>
                  </a:extLst>
                </p:cNvPr>
                <p:cNvSpPr/>
                <p:nvPr/>
              </p:nvSpPr>
              <p:spPr>
                <a:xfrm>
                  <a:off x="6439279" y="834216"/>
                  <a:ext cx="72008" cy="1053615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/>
                </a:p>
              </p:txBody>
            </p:sp>
            <p:sp>
              <p:nvSpPr>
                <p:cNvPr id="7172" name="Rectangle 7171">
                  <a:extLst>
                    <a:ext uri="{FF2B5EF4-FFF2-40B4-BE49-F238E27FC236}">
                      <a16:creationId xmlns:a16="http://schemas.microsoft.com/office/drawing/2014/main" id="{2A1ED11B-FE07-9CF1-8597-BD1211636B55}"/>
                    </a:ext>
                  </a:extLst>
                </p:cNvPr>
                <p:cNvSpPr/>
                <p:nvPr/>
              </p:nvSpPr>
              <p:spPr>
                <a:xfrm>
                  <a:off x="6553272" y="834216"/>
                  <a:ext cx="72008" cy="1053615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/>
                </a:p>
              </p:txBody>
            </p:sp>
            <p:sp>
              <p:nvSpPr>
                <p:cNvPr id="7173" name="Rectangle 7172">
                  <a:extLst>
                    <a:ext uri="{FF2B5EF4-FFF2-40B4-BE49-F238E27FC236}">
                      <a16:creationId xmlns:a16="http://schemas.microsoft.com/office/drawing/2014/main" id="{4C825A4E-7E8F-7A97-0D6D-9DF45046B78E}"/>
                    </a:ext>
                  </a:extLst>
                </p:cNvPr>
                <p:cNvSpPr/>
                <p:nvPr/>
              </p:nvSpPr>
              <p:spPr>
                <a:xfrm>
                  <a:off x="6667265" y="834216"/>
                  <a:ext cx="72008" cy="1053615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63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/>
                </a:p>
              </p:txBody>
            </p:sp>
          </p:grpSp>
          <p:pic>
            <p:nvPicPr>
              <p:cNvPr id="7244" name="Picture 6" descr="Radioactive Material Symbol Sign | Safety-Label.co.uk">
                <a:extLst>
                  <a:ext uri="{FF2B5EF4-FFF2-40B4-BE49-F238E27FC236}">
                    <a16:creationId xmlns:a16="http://schemas.microsoft.com/office/drawing/2014/main" id="{52286C00-BFE7-B01F-795A-B1C717D35C4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21" t="12936" r="12821" b="15385"/>
              <a:stretch/>
            </p:blipFill>
            <p:spPr bwMode="auto">
              <a:xfrm>
                <a:off x="6059034" y="1950165"/>
                <a:ext cx="580656" cy="5597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287" name="Group 7286">
            <a:extLst>
              <a:ext uri="{FF2B5EF4-FFF2-40B4-BE49-F238E27FC236}">
                <a16:creationId xmlns:a16="http://schemas.microsoft.com/office/drawing/2014/main" id="{CAAD36FA-4545-2426-F646-3C0BEBBAC828}"/>
              </a:ext>
            </a:extLst>
          </p:cNvPr>
          <p:cNvGrpSpPr/>
          <p:nvPr/>
        </p:nvGrpSpPr>
        <p:grpSpPr>
          <a:xfrm>
            <a:off x="198979" y="4280463"/>
            <a:ext cx="2131764" cy="2107803"/>
            <a:chOff x="195729" y="836712"/>
            <a:chExt cx="2131764" cy="2107803"/>
          </a:xfrm>
        </p:grpSpPr>
        <p:pic>
          <p:nvPicPr>
            <p:cNvPr id="7170" name="Picture 2" descr="Uranium prices soar as investors scoop up nuclear power fuel | Financial  Times">
              <a:extLst>
                <a:ext uri="{FF2B5EF4-FFF2-40B4-BE49-F238E27FC236}">
                  <a16:creationId xmlns:a16="http://schemas.microsoft.com/office/drawing/2014/main" id="{FD2E2507-FFB0-3B2A-B628-6D9E14EC913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114" y="836712"/>
              <a:ext cx="1352757" cy="10618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88" name="TextBox 7187">
              <a:extLst>
                <a:ext uri="{FF2B5EF4-FFF2-40B4-BE49-F238E27FC236}">
                  <a16:creationId xmlns:a16="http://schemas.microsoft.com/office/drawing/2014/main" id="{D050C536-0BD9-3088-47E1-3DE23B5D1FEB}"/>
                </a:ext>
              </a:extLst>
            </p:cNvPr>
            <p:cNvSpPr txBox="1"/>
            <p:nvPr/>
          </p:nvSpPr>
          <p:spPr>
            <a:xfrm>
              <a:off x="195729" y="1990408"/>
              <a:ext cx="213176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/>
                <a:t>278.8 tonne of natural U</a:t>
              </a:r>
              <a:r>
                <a:rPr lang="en-US" sz="1400" baseline="-25000" dirty="0"/>
                <a:t>3</a:t>
              </a:r>
              <a:r>
                <a:rPr lang="en-US" sz="1400" dirty="0"/>
                <a:t>O</a:t>
              </a:r>
              <a:r>
                <a:rPr lang="en-US" sz="1400" baseline="-25000" dirty="0"/>
                <a:t>8</a:t>
              </a:r>
              <a:r>
                <a:rPr lang="en-US" sz="1400" dirty="0"/>
                <a:t> mined from approx. 123 Mt of ore (@0.5% grade)</a:t>
              </a:r>
            </a:p>
          </p:txBody>
        </p:sp>
        <p:pic>
          <p:nvPicPr>
            <p:cNvPr id="7245" name="Picture 6" descr="Radioactive Material Symbol Sign | Safety-Label.co.uk">
              <a:extLst>
                <a:ext uri="{FF2B5EF4-FFF2-40B4-BE49-F238E27FC236}">
                  <a16:creationId xmlns:a16="http://schemas.microsoft.com/office/drawing/2014/main" id="{3BCEAA93-7BE1-BB34-5950-E55D56DA1C9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21" t="12936" r="12821" b="15385"/>
            <a:stretch/>
          </p:blipFill>
          <p:spPr bwMode="auto">
            <a:xfrm>
              <a:off x="779254" y="923065"/>
              <a:ext cx="301080" cy="2902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295" name="Group 7294">
            <a:extLst>
              <a:ext uri="{FF2B5EF4-FFF2-40B4-BE49-F238E27FC236}">
                <a16:creationId xmlns:a16="http://schemas.microsoft.com/office/drawing/2014/main" id="{DACA1A29-C7AC-B5E7-AEFC-850199466274}"/>
              </a:ext>
            </a:extLst>
          </p:cNvPr>
          <p:cNvGrpSpPr/>
          <p:nvPr/>
        </p:nvGrpSpPr>
        <p:grpSpPr>
          <a:xfrm>
            <a:off x="5253954" y="1201696"/>
            <a:ext cx="2384277" cy="2004909"/>
            <a:chOff x="5064373" y="4124362"/>
            <a:chExt cx="2384277" cy="2004909"/>
          </a:xfrm>
        </p:grpSpPr>
        <p:pic>
          <p:nvPicPr>
            <p:cNvPr id="7186" name="Picture 4" descr="Electricity Symbol png download - 906*980 - Free Transparent Electricity  png Download. - CleanPNG / KissPNG">
              <a:extLst>
                <a:ext uri="{FF2B5EF4-FFF2-40B4-BE49-F238E27FC236}">
                  <a16:creationId xmlns:a16="http://schemas.microsoft.com/office/drawing/2014/main" id="{C3C238F3-8014-83F5-03C6-8E8E1F78B2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72000" contrast="2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7685" y="4124362"/>
              <a:ext cx="957098" cy="10422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98" name="TextBox 7197">
              <a:extLst>
                <a:ext uri="{FF2B5EF4-FFF2-40B4-BE49-F238E27FC236}">
                  <a16:creationId xmlns:a16="http://schemas.microsoft.com/office/drawing/2014/main" id="{AA326A78-D1B9-AF80-80B6-4FDFA992A78B}"/>
                </a:ext>
              </a:extLst>
            </p:cNvPr>
            <p:cNvSpPr txBox="1"/>
            <p:nvPr/>
          </p:nvSpPr>
          <p:spPr>
            <a:xfrm>
              <a:off x="5177828" y="5298274"/>
              <a:ext cx="227082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70C0"/>
                  </a:solidFill>
                </a:rPr>
                <a:t>10 000 GWh of electrical power is generated</a:t>
              </a:r>
            </a:p>
            <a:p>
              <a:pPr algn="ctr"/>
              <a:r>
                <a:rPr lang="en-US" sz="1600" b="1" dirty="0">
                  <a:solidFill>
                    <a:srgbClr val="0070C0"/>
                  </a:solidFill>
                </a:rPr>
                <a:t>(365 days)</a:t>
              </a:r>
            </a:p>
          </p:txBody>
        </p:sp>
        <p:cxnSp>
          <p:nvCxnSpPr>
            <p:cNvPr id="7252" name="Connector: Elbow 7251">
              <a:extLst>
                <a:ext uri="{FF2B5EF4-FFF2-40B4-BE49-F238E27FC236}">
                  <a16:creationId xmlns:a16="http://schemas.microsoft.com/office/drawing/2014/main" id="{863CF7B6-40FD-0E91-4453-4F7D16ED1900}"/>
                </a:ext>
              </a:extLst>
            </p:cNvPr>
            <p:cNvCxnSpPr>
              <a:cxnSpLocks/>
              <a:stCxn id="7185" idx="3"/>
              <a:endCxn id="7186" idx="1"/>
            </p:cNvCxnSpPr>
            <p:nvPr/>
          </p:nvCxnSpPr>
          <p:spPr>
            <a:xfrm flipV="1">
              <a:off x="5064373" y="4645495"/>
              <a:ext cx="673312" cy="2283"/>
            </a:xfrm>
            <a:prstGeom prst="bentConnector3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96" name="Group 7295">
            <a:extLst>
              <a:ext uri="{FF2B5EF4-FFF2-40B4-BE49-F238E27FC236}">
                <a16:creationId xmlns:a16="http://schemas.microsoft.com/office/drawing/2014/main" id="{8E0DFC39-9A56-E0E8-D8CC-479B4F1B43B8}"/>
              </a:ext>
            </a:extLst>
          </p:cNvPr>
          <p:cNvGrpSpPr/>
          <p:nvPr/>
        </p:nvGrpSpPr>
        <p:grpSpPr>
          <a:xfrm>
            <a:off x="6884364" y="1355768"/>
            <a:ext cx="4760203" cy="1719976"/>
            <a:chOff x="6685775" y="4349077"/>
            <a:chExt cx="4760203" cy="1719976"/>
          </a:xfrm>
        </p:grpSpPr>
        <p:pic>
          <p:nvPicPr>
            <p:cNvPr id="7187" name="Picture 6" descr="Radioactive Material Symbol Sign | Safety-Label.co.uk">
              <a:extLst>
                <a:ext uri="{FF2B5EF4-FFF2-40B4-BE49-F238E27FC236}">
                  <a16:creationId xmlns:a16="http://schemas.microsoft.com/office/drawing/2014/main" id="{E08FCF22-369D-C395-48B0-B961F115ED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21" t="12936" r="12821" b="15385"/>
            <a:stretch/>
          </p:blipFill>
          <p:spPr bwMode="auto">
            <a:xfrm>
              <a:off x="8555024" y="4349077"/>
              <a:ext cx="772185" cy="7443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203" name="TextBox 7202">
              <a:extLst>
                <a:ext uri="{FF2B5EF4-FFF2-40B4-BE49-F238E27FC236}">
                  <a16:creationId xmlns:a16="http://schemas.microsoft.com/office/drawing/2014/main" id="{48509153-F198-79A4-CA12-05215DB36CC7}"/>
                </a:ext>
              </a:extLst>
            </p:cNvPr>
            <p:cNvSpPr txBox="1"/>
            <p:nvPr/>
          </p:nvSpPr>
          <p:spPr>
            <a:xfrm>
              <a:off x="7326004" y="5238056"/>
              <a:ext cx="411997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0070C0"/>
                  </a:solidFill>
                </a:rPr>
                <a:t>53.84 kg of contaminated fuel (LLW). Mostly medical isotopes (</a:t>
              </a:r>
              <a:r>
                <a:rPr lang="fr-FR" sz="1600" dirty="0">
                  <a:solidFill>
                    <a:srgbClr val="0070C0"/>
                  </a:solidFill>
                </a:rPr>
                <a:t>Xe, Ce, Sr, Zr, I, etc.</a:t>
              </a:r>
              <a:r>
                <a:rPr lang="en-US" sz="1600" dirty="0">
                  <a:solidFill>
                    <a:srgbClr val="0070C0"/>
                  </a:solidFill>
                </a:rPr>
                <a:t>)</a:t>
              </a:r>
            </a:p>
            <a:p>
              <a:pPr algn="ctr"/>
              <a:r>
                <a:rPr lang="en-US" sz="1600" dirty="0">
                  <a:solidFill>
                    <a:srgbClr val="0070C0"/>
                  </a:solidFill>
                </a:rPr>
                <a:t>Stored for 300 years if not recycled</a:t>
              </a:r>
            </a:p>
          </p:txBody>
        </p:sp>
        <p:cxnSp>
          <p:nvCxnSpPr>
            <p:cNvPr id="7253" name="Connector: Elbow 7252">
              <a:extLst>
                <a:ext uri="{FF2B5EF4-FFF2-40B4-BE49-F238E27FC236}">
                  <a16:creationId xmlns:a16="http://schemas.microsoft.com/office/drawing/2014/main" id="{BA8B2AA5-82B1-2374-5AB2-33ADAE41F188}"/>
                </a:ext>
              </a:extLst>
            </p:cNvPr>
            <p:cNvCxnSpPr>
              <a:cxnSpLocks/>
              <a:stCxn id="7186" idx="3"/>
              <a:endCxn id="7187" idx="1"/>
            </p:cNvCxnSpPr>
            <p:nvPr/>
          </p:nvCxnSpPr>
          <p:spPr>
            <a:xfrm>
              <a:off x="6685775" y="4716138"/>
              <a:ext cx="1869249" cy="5116"/>
            </a:xfrm>
            <a:prstGeom prst="bentConnector3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272" name="Straight Connector 7271">
            <a:extLst>
              <a:ext uri="{FF2B5EF4-FFF2-40B4-BE49-F238E27FC236}">
                <a16:creationId xmlns:a16="http://schemas.microsoft.com/office/drawing/2014/main" id="{8CA93B45-141E-11B9-AD3C-D52D54505CE2}"/>
              </a:ext>
            </a:extLst>
          </p:cNvPr>
          <p:cNvCxnSpPr>
            <a:cxnSpLocks/>
          </p:cNvCxnSpPr>
          <p:nvPr/>
        </p:nvCxnSpPr>
        <p:spPr>
          <a:xfrm flipV="1">
            <a:off x="287" y="3509987"/>
            <a:ext cx="12206882" cy="8554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80" name="TextBox 7279">
            <a:extLst>
              <a:ext uri="{FF2B5EF4-FFF2-40B4-BE49-F238E27FC236}">
                <a16:creationId xmlns:a16="http://schemas.microsoft.com/office/drawing/2014/main" id="{CDE1AF79-2B5B-04D0-A72F-B4C03BC4135C}"/>
              </a:ext>
            </a:extLst>
          </p:cNvPr>
          <p:cNvSpPr txBox="1"/>
          <p:nvPr/>
        </p:nvSpPr>
        <p:spPr>
          <a:xfrm>
            <a:off x="298047" y="356136"/>
            <a:ext cx="4182107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b="1" dirty="0"/>
              <a:t>Liquid Fuel Thorium Molten Salt Reactor </a:t>
            </a:r>
            <a:endParaRPr lang="en-FI" b="1" dirty="0"/>
          </a:p>
        </p:txBody>
      </p:sp>
      <p:sp>
        <p:nvSpPr>
          <p:cNvPr id="7281" name="TextBox 7280">
            <a:extLst>
              <a:ext uri="{FF2B5EF4-FFF2-40B4-BE49-F238E27FC236}">
                <a16:creationId xmlns:a16="http://schemas.microsoft.com/office/drawing/2014/main" id="{A1F9E4DE-B709-A4DA-7FBD-D9053A8D8627}"/>
              </a:ext>
            </a:extLst>
          </p:cNvPr>
          <p:cNvSpPr txBox="1"/>
          <p:nvPr/>
        </p:nvSpPr>
        <p:spPr>
          <a:xfrm>
            <a:off x="298047" y="3625229"/>
            <a:ext cx="2949022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Uranium Light Water Reactor</a:t>
            </a:r>
            <a:endParaRPr lang="en-FI" b="1" dirty="0"/>
          </a:p>
        </p:txBody>
      </p:sp>
      <p:sp>
        <p:nvSpPr>
          <p:cNvPr id="7283" name="TextBox 7282">
            <a:extLst>
              <a:ext uri="{FF2B5EF4-FFF2-40B4-BE49-F238E27FC236}">
                <a16:creationId xmlns:a16="http://schemas.microsoft.com/office/drawing/2014/main" id="{5905E0C2-7AE3-828F-C9B8-FA4D0C0D366D}"/>
              </a:ext>
            </a:extLst>
          </p:cNvPr>
          <p:cNvSpPr txBox="1"/>
          <p:nvPr/>
        </p:nvSpPr>
        <p:spPr>
          <a:xfrm>
            <a:off x="8759580" y="3692892"/>
            <a:ext cx="33291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FI" sz="1200" dirty="0">
                <a:hlinkClick r:id="rId10"/>
              </a:rPr>
              <a:t>https://www.wise-uranium.org/nfcm.html</a:t>
            </a:r>
            <a:r>
              <a:rPr lang="en-US" sz="1200" dirty="0"/>
              <a:t> </a:t>
            </a:r>
            <a:endParaRPr lang="en-FI" sz="1200" dirty="0"/>
          </a:p>
        </p:txBody>
      </p:sp>
      <p:sp>
        <p:nvSpPr>
          <p:cNvPr id="7285" name="TextBox 7284">
            <a:extLst>
              <a:ext uri="{FF2B5EF4-FFF2-40B4-BE49-F238E27FC236}">
                <a16:creationId xmlns:a16="http://schemas.microsoft.com/office/drawing/2014/main" id="{E9294653-DAEA-FE88-A3AB-A864A6DB7E1C}"/>
              </a:ext>
            </a:extLst>
          </p:cNvPr>
          <p:cNvSpPr txBox="1"/>
          <p:nvPr/>
        </p:nvSpPr>
        <p:spPr>
          <a:xfrm>
            <a:off x="10773921" y="6558097"/>
            <a:ext cx="131478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Bahnschrift" panose="020B0502040204020203" pitchFamily="34" charset="0"/>
              </a:rPr>
              <a:t>THE THORIUM NETWORK</a:t>
            </a:r>
            <a:endParaRPr lang="en-FI" sz="800" dirty="0">
              <a:latin typeface="Bahnschrift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C50A44B-3265-7E79-CE17-7D590CF5308A}"/>
              </a:ext>
            </a:extLst>
          </p:cNvPr>
          <p:cNvSpPr txBox="1"/>
          <p:nvPr/>
        </p:nvSpPr>
        <p:spPr>
          <a:xfrm>
            <a:off x="9143727" y="1229935"/>
            <a:ext cx="21187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1-5% radioactive isotopes</a:t>
            </a:r>
            <a:endParaRPr lang="en-FI" b="1" dirty="0">
              <a:solidFill>
                <a:srgbClr val="0070C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57D1FD-3F23-B528-CFC4-3E83EFD6EA79}"/>
              </a:ext>
            </a:extLst>
          </p:cNvPr>
          <p:cNvSpPr txBox="1"/>
          <p:nvPr/>
        </p:nvSpPr>
        <p:spPr>
          <a:xfrm>
            <a:off x="3014237" y="5968785"/>
            <a:ext cx="2152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200" dirty="0"/>
              <a:t>Enrichment of UF</a:t>
            </a:r>
            <a:r>
              <a:rPr lang="nl-NL" sz="1200" baseline="-25000" dirty="0"/>
              <a:t>6</a:t>
            </a:r>
            <a:r>
              <a:rPr lang="nl-NL" sz="1200" dirty="0"/>
              <a:t> </a:t>
            </a:r>
            <a:r>
              <a:rPr lang="nl-NL" sz="1200" baseline="30000" dirty="0"/>
              <a:t>235</a:t>
            </a:r>
            <a:r>
              <a:rPr lang="nl-NL" sz="1200" dirty="0"/>
              <a:t>U @ 4.09% (43.3 tonne)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AF17B6A-F73F-CCDF-9A9D-F88A36585F00}"/>
              </a:ext>
            </a:extLst>
          </p:cNvPr>
          <p:cNvGrpSpPr/>
          <p:nvPr/>
        </p:nvGrpSpPr>
        <p:grpSpPr>
          <a:xfrm>
            <a:off x="4013007" y="4336115"/>
            <a:ext cx="959419" cy="952355"/>
            <a:chOff x="4325626" y="1412776"/>
            <a:chExt cx="959419" cy="952355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7E1FA47A-1755-A861-09D3-AD60945B9F36}"/>
                </a:ext>
              </a:extLst>
            </p:cNvPr>
            <p:cNvSpPr/>
            <p:nvPr/>
          </p:nvSpPr>
          <p:spPr>
            <a:xfrm>
              <a:off x="4325626" y="1414403"/>
              <a:ext cx="244747" cy="946005"/>
            </a:xfrm>
            <a:prstGeom prst="roundRect">
              <a:avLst>
                <a:gd name="adj" fmla="val 47091"/>
              </a:avLst>
            </a:prstGeom>
            <a:solidFill>
              <a:schemeClr val="accent4">
                <a:lumMod val="5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8C1BDE79-5924-06BA-9C4F-B6A15E59368D}"/>
                </a:ext>
              </a:extLst>
            </p:cNvPr>
            <p:cNvSpPr/>
            <p:nvPr/>
          </p:nvSpPr>
          <p:spPr>
            <a:xfrm>
              <a:off x="4692987" y="1412776"/>
              <a:ext cx="244747" cy="946005"/>
            </a:xfrm>
            <a:prstGeom prst="roundRect">
              <a:avLst>
                <a:gd name="adj" fmla="val 47091"/>
              </a:avLst>
            </a:prstGeom>
            <a:solidFill>
              <a:schemeClr val="accent4">
                <a:lumMod val="5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7FFC3C0B-2B6A-A6D4-4F6B-433437FEC003}"/>
                </a:ext>
              </a:extLst>
            </p:cNvPr>
            <p:cNvSpPr/>
            <p:nvPr/>
          </p:nvSpPr>
          <p:spPr>
            <a:xfrm>
              <a:off x="5040298" y="1412776"/>
              <a:ext cx="244747" cy="946005"/>
            </a:xfrm>
            <a:prstGeom prst="roundRect">
              <a:avLst>
                <a:gd name="adj" fmla="val 47091"/>
              </a:avLst>
            </a:prstGeom>
            <a:solidFill>
              <a:schemeClr val="accent4">
                <a:lumMod val="5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AC7B6F31-E96F-1EAA-774A-FC330290535E}"/>
                </a:ext>
              </a:extLst>
            </p:cNvPr>
            <p:cNvCxnSpPr>
              <a:cxnSpLocks/>
              <a:stCxn id="38" idx="0"/>
              <a:endCxn id="39" idx="0"/>
            </p:cNvCxnSpPr>
            <p:nvPr/>
          </p:nvCxnSpPr>
          <p:spPr>
            <a:xfrm rot="5400000" flipH="1" flipV="1">
              <a:off x="4630867" y="1229910"/>
              <a:ext cx="1627" cy="367361"/>
            </a:xfrm>
            <a:prstGeom prst="bentConnector3">
              <a:avLst>
                <a:gd name="adj1" fmla="val 9466933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nector: Elbow 41">
              <a:extLst>
                <a:ext uri="{FF2B5EF4-FFF2-40B4-BE49-F238E27FC236}">
                  <a16:creationId xmlns:a16="http://schemas.microsoft.com/office/drawing/2014/main" id="{C8D088D4-E28B-A19D-DD84-BFB91C77AA75}"/>
                </a:ext>
              </a:extLst>
            </p:cNvPr>
            <p:cNvCxnSpPr>
              <a:cxnSpLocks/>
              <a:stCxn id="39" idx="2"/>
              <a:endCxn id="40" idx="2"/>
            </p:cNvCxnSpPr>
            <p:nvPr/>
          </p:nvCxnSpPr>
          <p:spPr>
            <a:xfrm rot="16200000" flipH="1">
              <a:off x="4989016" y="2185125"/>
              <a:ext cx="12700" cy="347311"/>
            </a:xfrm>
            <a:prstGeom prst="bentConnector3">
              <a:avLst>
                <a:gd name="adj1" fmla="val 1125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" name="Picture 6" descr="Radioactive Material Symbol Sign | Safety-Label.co.uk">
              <a:extLst>
                <a:ext uri="{FF2B5EF4-FFF2-40B4-BE49-F238E27FC236}">
                  <a16:creationId xmlns:a16="http://schemas.microsoft.com/office/drawing/2014/main" id="{82FA06C1-9994-3E84-10A4-6E2B2E991D0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21" t="12936" r="12821" b="15385"/>
            <a:stretch/>
          </p:blipFill>
          <p:spPr bwMode="auto">
            <a:xfrm>
              <a:off x="4493338" y="1576307"/>
              <a:ext cx="652116" cy="6286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BC5905C-C5D6-95DF-F0CF-8CD40EE1B0EB}"/>
              </a:ext>
            </a:extLst>
          </p:cNvPr>
          <p:cNvGrpSpPr/>
          <p:nvPr/>
        </p:nvGrpSpPr>
        <p:grpSpPr>
          <a:xfrm>
            <a:off x="2787697" y="4335241"/>
            <a:ext cx="681147" cy="936861"/>
            <a:chOff x="2787697" y="4335241"/>
            <a:chExt cx="681147" cy="936861"/>
          </a:xfrm>
        </p:grpSpPr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7B827C2B-24D8-47A4-60D6-FE440A020231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970564" y="4152374"/>
              <a:ext cx="1627" cy="367361"/>
            </a:xfrm>
            <a:prstGeom prst="bentConnector3">
              <a:avLst>
                <a:gd name="adj1" fmla="val 985722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nector: Elbow 45">
              <a:extLst>
                <a:ext uri="{FF2B5EF4-FFF2-40B4-BE49-F238E27FC236}">
                  <a16:creationId xmlns:a16="http://schemas.microsoft.com/office/drawing/2014/main" id="{3AC0AA7E-F9DC-23AD-A433-22F3A3B37D5F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3288839" y="5092096"/>
              <a:ext cx="12700" cy="347311"/>
            </a:xfrm>
            <a:prstGeom prst="bentConnector3">
              <a:avLst>
                <a:gd name="adj1" fmla="val 1256252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1266DED6-E877-A8A8-3A18-E0694DAC6743}"/>
              </a:ext>
            </a:extLst>
          </p:cNvPr>
          <p:cNvSpPr/>
          <p:nvPr/>
        </p:nvSpPr>
        <p:spPr>
          <a:xfrm>
            <a:off x="2366791" y="4086507"/>
            <a:ext cx="2707848" cy="2408116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BABB5652-968B-C38B-D3C1-BD5A8E849A1C}"/>
              </a:ext>
            </a:extLst>
          </p:cNvPr>
          <p:cNvCxnSpPr>
            <a:cxnSpLocks/>
            <a:stCxn id="7182" idx="3"/>
          </p:cNvCxnSpPr>
          <p:nvPr/>
        </p:nvCxnSpPr>
        <p:spPr>
          <a:xfrm flipV="1">
            <a:off x="8319792" y="4884641"/>
            <a:ext cx="1592632" cy="96459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521381E4-D94A-31DE-3EE4-5D0B26496D52}"/>
              </a:ext>
            </a:extLst>
          </p:cNvPr>
          <p:cNvGrpSpPr/>
          <p:nvPr/>
        </p:nvGrpSpPr>
        <p:grpSpPr>
          <a:xfrm>
            <a:off x="9290016" y="5159494"/>
            <a:ext cx="696024" cy="276999"/>
            <a:chOff x="9290016" y="5159494"/>
            <a:chExt cx="696024" cy="276999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2585644-FA5A-C83C-79D1-9FF19D89E2C3}"/>
                </a:ext>
              </a:extLst>
            </p:cNvPr>
            <p:cNvSpPr/>
            <p:nvPr/>
          </p:nvSpPr>
          <p:spPr>
            <a:xfrm>
              <a:off x="9335260" y="5231607"/>
              <a:ext cx="554071" cy="1683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610D396-55C7-B26D-6F9D-D8B6B1442B9A}"/>
                </a:ext>
              </a:extLst>
            </p:cNvPr>
            <p:cNvSpPr txBox="1"/>
            <p:nvPr/>
          </p:nvSpPr>
          <p:spPr>
            <a:xfrm>
              <a:off x="9290016" y="5159494"/>
              <a:ext cx="6960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SNF (kg)</a:t>
              </a:r>
              <a:endParaRPr lang="en-FI" sz="1200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A21260D3-95F5-D568-E343-CC1372787E75}"/>
              </a:ext>
            </a:extLst>
          </p:cNvPr>
          <p:cNvSpPr txBox="1"/>
          <p:nvPr/>
        </p:nvSpPr>
        <p:spPr>
          <a:xfrm>
            <a:off x="6190683" y="338243"/>
            <a:ext cx="2949022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Can also run with a U salt mix, and with some SNF</a:t>
            </a:r>
            <a:endParaRPr lang="en-FI" b="1" dirty="0"/>
          </a:p>
        </p:txBody>
      </p:sp>
    </p:spTree>
    <p:extLst>
      <p:ext uri="{BB962C8B-B14F-4D97-AF65-F5344CB8AC3E}">
        <p14:creationId xmlns:p14="http://schemas.microsoft.com/office/powerpoint/2010/main" val="3522507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2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72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72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2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80" grpId="0" animBg="1"/>
      <p:bldP spid="7281" grpId="0" animBg="1"/>
      <p:bldP spid="7283" grpId="0"/>
      <p:bldP spid="7285" grpId="0"/>
      <p:bldP spid="2" grpId="0"/>
      <p:bldP spid="17" grpId="0"/>
      <p:bldP spid="47" grpId="0" animBg="1"/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116925E-41E8-545E-F5ED-5BAC125CE8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7693" y="341572"/>
            <a:ext cx="8985711" cy="63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8819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FDD1C4-7584-2C8E-EB91-74F2724046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9939" y="238850"/>
            <a:ext cx="8998360" cy="6367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813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AB818A9-D274-80C1-44A9-8B3EA9A73D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8243" y="362598"/>
            <a:ext cx="8590667" cy="6132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4275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A3ACD13A-A593-9DA3-DE38-15814F0B0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064" y="226919"/>
            <a:ext cx="9216720" cy="782343"/>
          </a:xfrm>
        </p:spPr>
        <p:txBody>
          <a:bodyPr/>
          <a:lstStyle/>
          <a:p>
            <a:r>
              <a:rPr lang="en-US" dirty="0"/>
              <a:t>Copenhagen Atomics</a:t>
            </a:r>
            <a:endParaRPr lang="en-FI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B4A6B68-6245-F453-4B05-37D9A1EB085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200" y="1189587"/>
            <a:ext cx="6156960" cy="5112153"/>
          </a:xfrm>
        </p:spPr>
        <p:txBody>
          <a:bodyPr/>
          <a:lstStyle/>
          <a:p>
            <a:r>
              <a:rPr lang="en-US" sz="2000" dirty="0"/>
              <a:t>Each commercial rector is planned to be able to produce 100 MW of thermal heat, or 40 MW of electricity</a:t>
            </a:r>
          </a:p>
          <a:p>
            <a:r>
              <a:rPr lang="en-US" sz="2000" dirty="0"/>
              <a:t>Each reactor is the size of a 40 foot shipping container</a:t>
            </a:r>
          </a:p>
          <a:p>
            <a:r>
              <a:rPr lang="en-US" sz="2000" dirty="0"/>
              <a:t>Electricity will be sold at a projected 2 cents/kWh</a:t>
            </a:r>
          </a:p>
          <a:p>
            <a:r>
              <a:rPr lang="en-US" sz="2000" dirty="0"/>
              <a:t>1g of thorium or uranium produces 24 MWh of thermal energy.  </a:t>
            </a:r>
          </a:p>
          <a:p>
            <a:pPr lvl="1"/>
            <a:r>
              <a:rPr lang="en-US" sz="2000" dirty="0"/>
              <a:t>A plant producing 1 GW electricity needs 800kg of Th</a:t>
            </a:r>
            <a:r>
              <a:rPr lang="en-US" sz="2000" baseline="-25000" dirty="0"/>
              <a:t>232</a:t>
            </a:r>
            <a:r>
              <a:rPr lang="en-US" sz="2000" dirty="0"/>
              <a:t> metal in salt form each year. </a:t>
            </a:r>
          </a:p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rst test of complete system to generate electricity in late 2025 to 2026</a:t>
            </a:r>
          </a:p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ercial reactors will be available for sale in 2028 (at this stage)</a:t>
            </a:r>
            <a:endParaRPr lang="en-FI" sz="24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8C5E74-6C39-2812-F21D-90BE47CDDFC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0646E7BC-8DB4-4B51-9586-C73E821BDB0A}" type="datetime1">
              <a:rPr lang="fi-FI" noProof="0" smtClean="0"/>
              <a:t>18.12.2023</a:t>
            </a:fld>
            <a:endParaRPr lang="fi-FI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8BECCA-4992-A0F3-47DA-60F284AC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E46437E-D3FF-48BE-9DB0-E927655FE322}" type="slidenum">
              <a:rPr lang="fi-FI" noProof="0" smtClean="0"/>
              <a:pPr/>
              <a:t>14</a:t>
            </a:fld>
            <a:endParaRPr lang="fi-FI" noProof="0"/>
          </a:p>
        </p:txBody>
      </p:sp>
      <p:pic>
        <p:nvPicPr>
          <p:cNvPr id="7" name="Picture 6" descr="A group of men standing in a room with large metal structures&#10;&#10;Description automatically generated">
            <a:extLst>
              <a:ext uri="{FF2B5EF4-FFF2-40B4-BE49-F238E27FC236}">
                <a16:creationId xmlns:a16="http://schemas.microsoft.com/office/drawing/2014/main" id="{56BF17CF-D3DD-C530-ED6F-FB6A237264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0600" y="1942331"/>
            <a:ext cx="4662640" cy="349698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AE1C345-5D09-EFCF-F83F-C6D3EF11A143}"/>
              </a:ext>
            </a:extLst>
          </p:cNvPr>
          <p:cNvSpPr txBox="1"/>
          <p:nvPr/>
        </p:nvSpPr>
        <p:spPr>
          <a:xfrm>
            <a:off x="7722261" y="1279724"/>
            <a:ext cx="31593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Test rig with a full sized reactor to pilot test the water circuit</a:t>
            </a:r>
            <a:endParaRPr lang="en-FI" dirty="0">
              <a:solidFill>
                <a:srgbClr val="0070C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061237C-ED8F-EE59-4A2A-189C8008279D}"/>
              </a:ext>
            </a:extLst>
          </p:cNvPr>
          <p:cNvSpPr txBox="1"/>
          <p:nvPr/>
        </p:nvSpPr>
        <p:spPr>
          <a:xfrm>
            <a:off x="7722261" y="5628123"/>
            <a:ext cx="3167974" cy="281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en-US" sz="12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www.copenhagenatomics.com/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FI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639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97D0BEE-EDC5-5CE3-0487-BB0B7639D924}"/>
              </a:ext>
            </a:extLst>
          </p:cNvPr>
          <p:cNvGrpSpPr/>
          <p:nvPr/>
        </p:nvGrpSpPr>
        <p:grpSpPr>
          <a:xfrm>
            <a:off x="638174" y="1155337"/>
            <a:ext cx="7163969" cy="4890297"/>
            <a:chOff x="1788583" y="547869"/>
            <a:chExt cx="7450667" cy="555911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F194DB92-E124-C5E2-A063-2152753D5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88583" y="547869"/>
              <a:ext cx="7450667" cy="5188130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CD5511C-D4D9-DA8A-A00E-F6BF1EC3EBCE}"/>
                </a:ext>
              </a:extLst>
            </p:cNvPr>
            <p:cNvSpPr txBox="1"/>
            <p:nvPr/>
          </p:nvSpPr>
          <p:spPr>
            <a:xfrm>
              <a:off x="2019299" y="5829985"/>
              <a:ext cx="686011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FI" sz="1200" dirty="0">
                  <a:hlinkClick r:id="rId3"/>
                </a:rPr>
                <a:t>https://www.autoracing1.com/pl/413299/toyota-ceo-our-ammonia-engine-will-be-the-end-of-evs/</a:t>
              </a:r>
              <a:r>
                <a:rPr lang="en-US" sz="1200" dirty="0"/>
                <a:t> </a:t>
              </a:r>
              <a:endParaRPr lang="en-FI" sz="1200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BB5436C-EE46-1C62-0F2D-591F9F509914}"/>
              </a:ext>
            </a:extLst>
          </p:cNvPr>
          <p:cNvSpPr txBox="1"/>
          <p:nvPr/>
        </p:nvSpPr>
        <p:spPr>
          <a:xfrm>
            <a:off x="8681308" y="1600260"/>
            <a:ext cx="2872518" cy="400110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sz="2000" dirty="0"/>
              <a:t>The EV Black Swan is here</a:t>
            </a:r>
            <a:endParaRPr lang="en-FI" sz="20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0054F7-C621-81E4-EA5F-B115B5C13D84}"/>
              </a:ext>
            </a:extLst>
          </p:cNvPr>
          <p:cNvSpPr txBox="1"/>
          <p:nvPr/>
        </p:nvSpPr>
        <p:spPr>
          <a:xfrm>
            <a:off x="8337344" y="2892600"/>
            <a:ext cx="3667125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2000" dirty="0"/>
              <a:t>The sourcing of raw materials for manufacture drove this decision</a:t>
            </a:r>
            <a:endParaRPr lang="en-FI" sz="2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6EB2B0-361F-5EAB-CF28-1260F6A037DE}"/>
              </a:ext>
            </a:extLst>
          </p:cNvPr>
          <p:cNvSpPr txBox="1"/>
          <p:nvPr/>
        </p:nvSpPr>
        <p:spPr>
          <a:xfrm>
            <a:off x="8635322" y="4501712"/>
            <a:ext cx="2964490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The battery market will now crash (opinion)</a:t>
            </a:r>
            <a:endParaRPr lang="en-FI" sz="2000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D79642B8-6609-2D60-B809-52836051092B}"/>
              </a:ext>
            </a:extLst>
          </p:cNvPr>
          <p:cNvSpPr txBox="1">
            <a:spLocks/>
          </p:cNvSpPr>
          <p:nvPr/>
        </p:nvSpPr>
        <p:spPr>
          <a:xfrm>
            <a:off x="788064" y="293430"/>
            <a:ext cx="9216720" cy="567302"/>
          </a:xfrm>
          <a:prstGeom prst="rect">
            <a:avLst/>
          </a:prstGeom>
        </p:spPr>
        <p:txBody>
          <a:bodyPr/>
          <a:lstStyle>
            <a:lvl1pPr algn="l" defTabSz="9144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cap="none">
                <a:solidFill>
                  <a:schemeClr val="bg2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mmonia Fueled ICE – passenger vehicles to ships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26636313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99273EB-4624-A5A3-F1DE-A1CFC8577B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" y="232282"/>
            <a:ext cx="11606784" cy="617439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BE68511-05B7-635C-9C9A-0D468BB2ACF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81" t="80804" r="80824" b="2617"/>
          <a:stretch/>
        </p:blipFill>
        <p:spPr>
          <a:xfrm>
            <a:off x="5806440" y="5742432"/>
            <a:ext cx="1819656" cy="1042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5575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E9AC5DB-AB42-059A-34ED-B03B1C4B54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553" y="285107"/>
            <a:ext cx="10400894" cy="6287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1079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39B2DCA-C095-CEFE-A915-FFF1F5C9E1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94" y="706697"/>
            <a:ext cx="10691674" cy="544460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770DFBA-DD9A-B502-9AF1-23AE7EE775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81" t="80804" r="80824" b="2617"/>
          <a:stretch/>
        </p:blipFill>
        <p:spPr>
          <a:xfrm>
            <a:off x="731520" y="5541264"/>
            <a:ext cx="1819656" cy="1042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0339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E50A03-000C-6036-06B2-C04C73BBBE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896" y="274914"/>
            <a:ext cx="11212305" cy="647335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4F8D233-217D-FAD4-C7F2-D41E8BDF858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81" t="80804" r="80824" b="2617"/>
          <a:stretch/>
        </p:blipFill>
        <p:spPr>
          <a:xfrm>
            <a:off x="10243041" y="6014914"/>
            <a:ext cx="1280160" cy="73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121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0B9B6-AB41-4B9B-D4FB-4A7ED8FC9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1729" y="273367"/>
            <a:ext cx="9216720" cy="782343"/>
          </a:xfrm>
        </p:spPr>
        <p:txBody>
          <a:bodyPr/>
          <a:lstStyle/>
          <a:p>
            <a:r>
              <a:rPr lang="en-US" dirty="0"/>
              <a:t>Summary</a:t>
            </a:r>
            <a:endParaRPr lang="en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0D4C10-C63E-50EB-E7B0-C250EDACCBE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37879" y="1035404"/>
            <a:ext cx="8942145" cy="4787191"/>
          </a:xfrm>
        </p:spPr>
        <p:txBody>
          <a:bodyPr/>
          <a:lstStyle/>
          <a:p>
            <a:r>
              <a:rPr lang="en-US" sz="2000" dirty="0"/>
              <a:t>Mapping the Green Transition</a:t>
            </a:r>
          </a:p>
          <a:p>
            <a:r>
              <a:rPr lang="en-US" sz="2000" dirty="0"/>
              <a:t>4 buffer sizes to manage intermittency of solar and wind power supply   </a:t>
            </a:r>
          </a:p>
          <a:p>
            <a:r>
              <a:rPr lang="en-US" sz="2000" dirty="0"/>
              <a:t>Quantity of metals needed</a:t>
            </a:r>
          </a:p>
          <a:p>
            <a:pPr lvl="1"/>
            <a:r>
              <a:rPr lang="en-US" sz="2000" dirty="0"/>
              <a:t>Compared to global annual mining production 2019</a:t>
            </a:r>
          </a:p>
          <a:p>
            <a:pPr lvl="1"/>
            <a:r>
              <a:rPr lang="en-US" sz="2000" dirty="0"/>
              <a:t>Compared to mineral reserves, resources and under sea resources</a:t>
            </a:r>
          </a:p>
          <a:p>
            <a:r>
              <a:rPr lang="en-US" sz="2000" dirty="0"/>
              <a:t>Make batteries of something other than lithium-ion chemistry </a:t>
            </a:r>
          </a:p>
          <a:p>
            <a:r>
              <a:rPr lang="en-US" sz="2000" dirty="0"/>
              <a:t>The commodities industry has been misunderstood </a:t>
            </a:r>
          </a:p>
          <a:p>
            <a:r>
              <a:rPr lang="en-US" sz="2000" dirty="0"/>
              <a:t>Liquid fuel fission using thorium as the fuel</a:t>
            </a:r>
          </a:p>
          <a:p>
            <a:r>
              <a:rPr lang="en-US" sz="2000" dirty="0"/>
              <a:t>Ammonia fueled ICE</a:t>
            </a:r>
          </a:p>
          <a:p>
            <a:r>
              <a:rPr lang="en-US" sz="2000" dirty="0"/>
              <a:t>The Purple Transition </a:t>
            </a:r>
          </a:p>
          <a:p>
            <a:endParaRPr lang="en-US" sz="2000" dirty="0"/>
          </a:p>
        </p:txBody>
      </p:sp>
      <p:pic>
        <p:nvPicPr>
          <p:cNvPr id="1028" name="Picture 4" descr="Risk Management And Black Swan Events">
            <a:extLst>
              <a:ext uri="{FF2B5EF4-FFF2-40B4-BE49-F238E27FC236}">
                <a16:creationId xmlns:a16="http://schemas.microsoft.com/office/drawing/2014/main" id="{9CE7D1DD-CC9B-E8D1-A6F9-E3D7967D6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4563" y="3568567"/>
            <a:ext cx="4079558" cy="3016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0707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DE5FC31-6EBE-BFF0-74AF-2D72EA70D1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887" y="170838"/>
            <a:ext cx="10878871" cy="62756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243BFB8-7664-2FBF-FA9C-2DBEB8118DF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81" t="80804" r="80824" b="2617"/>
          <a:stretch/>
        </p:blipFill>
        <p:spPr>
          <a:xfrm>
            <a:off x="9134856" y="4700016"/>
            <a:ext cx="1819656" cy="1042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458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8309A2-3A98-44D9-93ED-62787657518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353800" y="365126"/>
            <a:ext cx="473235" cy="365125"/>
          </a:xfrm>
        </p:spPr>
        <p:txBody>
          <a:bodyPr/>
          <a:lstStyle/>
          <a:p>
            <a:fld id="{F0753730-CA77-CA4E-8879-34FB69C671E1}" type="slidenum">
              <a:rPr lang="fi-FI" smtClean="0"/>
              <a:pPr/>
              <a:t>21</a:t>
            </a:fld>
            <a:endParaRPr lang="fi-FI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6E722C-DFA9-48CF-AB11-DB587AB4C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1293" y="234696"/>
            <a:ext cx="5932763" cy="760119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dirty="0"/>
              <a:t>The commodities sector has been misunderstood</a:t>
            </a:r>
            <a:endParaRPr lang="en-FI" sz="36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C169B26-1C19-4530-9297-3481A322E8D2}"/>
              </a:ext>
            </a:extLst>
          </p:cNvPr>
          <p:cNvGrpSpPr/>
          <p:nvPr/>
        </p:nvGrpSpPr>
        <p:grpSpPr>
          <a:xfrm>
            <a:off x="-2" y="0"/>
            <a:ext cx="2698126" cy="6858000"/>
            <a:chOff x="-2" y="0"/>
            <a:chExt cx="2698126" cy="68580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EDB9185-45CA-433F-8199-7B00FE617C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5400000">
              <a:off x="-2355662" y="2355660"/>
              <a:ext cx="6858000" cy="2146679"/>
            </a:xfrm>
            <a:prstGeom prst="rect">
              <a:avLst/>
            </a:prstGeom>
          </p:spPr>
        </p:pic>
        <p:sp>
          <p:nvSpPr>
            <p:cNvPr id="2" name="Arrow: Right 1">
              <a:extLst>
                <a:ext uri="{FF2B5EF4-FFF2-40B4-BE49-F238E27FC236}">
                  <a16:creationId xmlns:a16="http://schemas.microsoft.com/office/drawing/2014/main" id="{696B5E6A-1A20-42FB-B73C-A365BC2ECB59}"/>
                </a:ext>
              </a:extLst>
            </p:cNvPr>
            <p:cNvSpPr/>
            <p:nvPr/>
          </p:nvSpPr>
          <p:spPr>
            <a:xfrm>
              <a:off x="2273300" y="1061740"/>
              <a:ext cx="424824" cy="263060"/>
            </a:xfrm>
            <a:prstGeom prst="rightArrow">
              <a:avLst/>
            </a:prstGeom>
            <a:solidFill>
              <a:srgbClr val="0000FF"/>
            </a:solidFill>
            <a:ln w="31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14" name="Arrow: Right 13">
              <a:extLst>
                <a:ext uri="{FF2B5EF4-FFF2-40B4-BE49-F238E27FC236}">
                  <a16:creationId xmlns:a16="http://schemas.microsoft.com/office/drawing/2014/main" id="{D886E466-C42B-4243-A6FA-9C7BFEB339B9}"/>
                </a:ext>
              </a:extLst>
            </p:cNvPr>
            <p:cNvSpPr/>
            <p:nvPr/>
          </p:nvSpPr>
          <p:spPr>
            <a:xfrm>
              <a:off x="2273300" y="2680358"/>
              <a:ext cx="424824" cy="263060"/>
            </a:xfrm>
            <a:prstGeom prst="rightArrow">
              <a:avLst/>
            </a:prstGeom>
            <a:solidFill>
              <a:srgbClr val="0000FF"/>
            </a:solidFill>
            <a:ln w="31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16" name="Arrow: Right 15">
              <a:extLst>
                <a:ext uri="{FF2B5EF4-FFF2-40B4-BE49-F238E27FC236}">
                  <a16:creationId xmlns:a16="http://schemas.microsoft.com/office/drawing/2014/main" id="{542F0C21-AC49-4B79-9CE3-A1CA092760A1}"/>
                </a:ext>
              </a:extLst>
            </p:cNvPr>
            <p:cNvSpPr/>
            <p:nvPr/>
          </p:nvSpPr>
          <p:spPr>
            <a:xfrm>
              <a:off x="2273300" y="4298976"/>
              <a:ext cx="424824" cy="263060"/>
            </a:xfrm>
            <a:prstGeom prst="rightArrow">
              <a:avLst/>
            </a:prstGeom>
            <a:solidFill>
              <a:srgbClr val="0000FF"/>
            </a:solidFill>
            <a:ln w="31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20" name="Arrow: Right 19">
              <a:extLst>
                <a:ext uri="{FF2B5EF4-FFF2-40B4-BE49-F238E27FC236}">
                  <a16:creationId xmlns:a16="http://schemas.microsoft.com/office/drawing/2014/main" id="{1C7C3257-0AAA-41C7-84A3-AEB562012D77}"/>
                </a:ext>
              </a:extLst>
            </p:cNvPr>
            <p:cNvSpPr/>
            <p:nvPr/>
          </p:nvSpPr>
          <p:spPr>
            <a:xfrm>
              <a:off x="2273300" y="6062613"/>
              <a:ext cx="424824" cy="263060"/>
            </a:xfrm>
            <a:prstGeom prst="rightArrow">
              <a:avLst/>
            </a:prstGeom>
            <a:solidFill>
              <a:srgbClr val="0000FF"/>
            </a:solidFill>
            <a:ln w="31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9456612-7B74-4C0C-94B7-DB7AA2E0B375}"/>
              </a:ext>
            </a:extLst>
          </p:cNvPr>
          <p:cNvGrpSpPr/>
          <p:nvPr/>
        </p:nvGrpSpPr>
        <p:grpSpPr>
          <a:xfrm>
            <a:off x="2738580" y="1984023"/>
            <a:ext cx="5016508" cy="3492318"/>
            <a:chOff x="3007217" y="1646121"/>
            <a:chExt cx="5016508" cy="3492318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C4E4CC0D-7248-4484-A9DE-0FEF5F699C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5151" y="2084626"/>
              <a:ext cx="2591161" cy="26916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FB67D7A-2BA3-47DF-8363-01D1DBE2CE26}"/>
                </a:ext>
              </a:extLst>
            </p:cNvPr>
            <p:cNvSpPr txBox="1"/>
            <p:nvPr/>
          </p:nvSpPr>
          <p:spPr>
            <a:xfrm>
              <a:off x="3007217" y="3958102"/>
              <a:ext cx="131940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/>
                <a:t>Energy</a:t>
              </a:r>
              <a:endParaRPr lang="en-FI" sz="2400" dirty="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14675D4-B144-4C08-BBC4-3A77D63639E5}"/>
                </a:ext>
              </a:extLst>
            </p:cNvPr>
            <p:cNvSpPr txBox="1"/>
            <p:nvPr/>
          </p:nvSpPr>
          <p:spPr>
            <a:xfrm>
              <a:off x="5610357" y="4676774"/>
              <a:ext cx="173509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/>
                <a:t>Economics</a:t>
              </a:r>
              <a:endParaRPr lang="en-FI" sz="2400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94146E5-A574-4928-84B4-D182DD18B670}"/>
                </a:ext>
              </a:extLst>
            </p:cNvPr>
            <p:cNvSpPr txBox="1"/>
            <p:nvPr/>
          </p:nvSpPr>
          <p:spPr>
            <a:xfrm>
              <a:off x="6580889" y="3058484"/>
              <a:ext cx="144283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/>
                <a:t>Minerals</a:t>
              </a:r>
              <a:endParaRPr lang="en-FI" sz="24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9D85757-A4EA-4236-B2EE-43C2F62632C0}"/>
                </a:ext>
              </a:extLst>
            </p:cNvPr>
            <p:cNvSpPr txBox="1"/>
            <p:nvPr/>
          </p:nvSpPr>
          <p:spPr>
            <a:xfrm>
              <a:off x="4848932" y="1646121"/>
              <a:ext cx="178722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/>
                <a:t>Technology</a:t>
              </a:r>
              <a:endParaRPr lang="en-FI" sz="24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ED788AA-9F99-4E89-AD23-AA1918D13F1F}"/>
              </a:ext>
            </a:extLst>
          </p:cNvPr>
          <p:cNvGrpSpPr/>
          <p:nvPr/>
        </p:nvGrpSpPr>
        <p:grpSpPr>
          <a:xfrm>
            <a:off x="8346990" y="2434763"/>
            <a:ext cx="3619534" cy="2413023"/>
            <a:chOff x="8346990" y="2149013"/>
            <a:chExt cx="3619534" cy="2413023"/>
          </a:xfrm>
        </p:grpSpPr>
        <p:pic>
          <p:nvPicPr>
            <p:cNvPr id="19" name="Picture 18" descr="A picture containing water, outdoor, scene&#10;&#10;Description automatically generated">
              <a:extLst>
                <a:ext uri="{FF2B5EF4-FFF2-40B4-BE49-F238E27FC236}">
                  <a16:creationId xmlns:a16="http://schemas.microsoft.com/office/drawing/2014/main" id="{C6C2AD7B-2E38-4867-89DD-A86EB42614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346990" y="2149013"/>
              <a:ext cx="3619534" cy="2413023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EEAA87E-B074-496D-B6B2-CC876C8F0D6E}"/>
                </a:ext>
              </a:extLst>
            </p:cNvPr>
            <p:cNvSpPr txBox="1"/>
            <p:nvPr/>
          </p:nvSpPr>
          <p:spPr>
            <a:xfrm>
              <a:off x="9947225" y="2211579"/>
              <a:ext cx="201929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Human Society</a:t>
              </a:r>
              <a:endParaRPr lang="en-FI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68A02BA0-7793-4427-8139-9F18BDD8E59A}"/>
              </a:ext>
            </a:extLst>
          </p:cNvPr>
          <p:cNvSpPr txBox="1"/>
          <p:nvPr/>
        </p:nvSpPr>
        <p:spPr>
          <a:xfrm>
            <a:off x="3145989" y="5839759"/>
            <a:ext cx="4670681" cy="707886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dirty="0"/>
              <a:t>Each one of these aspects cannot be considered without the other three</a:t>
            </a:r>
            <a:endParaRPr lang="en-FI" sz="20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64022D-08F6-4C0E-9AD2-A08ACE2BEACC}"/>
              </a:ext>
            </a:extLst>
          </p:cNvPr>
          <p:cNvSpPr txBox="1"/>
          <p:nvPr/>
        </p:nvSpPr>
        <p:spPr>
          <a:xfrm>
            <a:off x="3145989" y="5839759"/>
            <a:ext cx="6099900" cy="707886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dirty="0"/>
              <a:t>All of these aspects and human society functions by harvesting feedstock from the planetary environment </a:t>
            </a:r>
            <a:endParaRPr lang="en-FI" sz="20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73D623C-D019-486B-9EA7-A62D82FABBB3}"/>
              </a:ext>
            </a:extLst>
          </p:cNvPr>
          <p:cNvSpPr txBox="1"/>
          <p:nvPr/>
        </p:nvSpPr>
        <p:spPr>
          <a:xfrm>
            <a:off x="8685450" y="1595750"/>
            <a:ext cx="31231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C00000"/>
                </a:solidFill>
              </a:rPr>
              <a:t>This is how our system is really structured</a:t>
            </a:r>
            <a:endParaRPr lang="en-FI" sz="2400" dirty="0">
              <a:solidFill>
                <a:srgbClr val="C0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688EA0C-6A5F-4D7B-A0C9-0D9046DEBA91}"/>
              </a:ext>
            </a:extLst>
          </p:cNvPr>
          <p:cNvSpPr txBox="1"/>
          <p:nvPr/>
        </p:nvSpPr>
        <p:spPr>
          <a:xfrm>
            <a:off x="8503519" y="4877232"/>
            <a:ext cx="34870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C00000"/>
                </a:solidFill>
              </a:rPr>
              <a:t>Any new system will have to have a similar structure</a:t>
            </a:r>
            <a:endParaRPr lang="en-FI" sz="2400" dirty="0">
              <a:solidFill>
                <a:srgbClr val="C00000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345FD9F-DCD9-4A64-882D-4A3418E58E29}"/>
              </a:ext>
            </a:extLst>
          </p:cNvPr>
          <p:cNvSpPr txBox="1"/>
          <p:nvPr/>
        </p:nvSpPr>
        <p:spPr>
          <a:xfrm>
            <a:off x="3460088" y="1181678"/>
            <a:ext cx="4463398" cy="646331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relationship between all 4 aspects &amp; the planetary environment is changing</a:t>
            </a:r>
            <a:endParaRPr lang="en-FI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F637B03-D9BE-AE99-E9AA-79EC8E2554A1}"/>
              </a:ext>
            </a:extLst>
          </p:cNvPr>
          <p:cNvGrpSpPr/>
          <p:nvPr/>
        </p:nvGrpSpPr>
        <p:grpSpPr>
          <a:xfrm>
            <a:off x="4298359" y="2670375"/>
            <a:ext cx="3730723" cy="461665"/>
            <a:chOff x="4298359" y="2384625"/>
            <a:chExt cx="3730723" cy="461665"/>
          </a:xfrm>
        </p:grpSpPr>
        <p:sp>
          <p:nvSpPr>
            <p:cNvPr id="15" name="Arrow: Right 14">
              <a:extLst>
                <a:ext uri="{FF2B5EF4-FFF2-40B4-BE49-F238E27FC236}">
                  <a16:creationId xmlns:a16="http://schemas.microsoft.com/office/drawing/2014/main" id="{10D984FD-CF62-4234-938A-9DCCAE477734}"/>
                </a:ext>
              </a:extLst>
            </p:cNvPr>
            <p:cNvSpPr/>
            <p:nvPr/>
          </p:nvSpPr>
          <p:spPr>
            <a:xfrm>
              <a:off x="7604258" y="2480159"/>
              <a:ext cx="424824" cy="263060"/>
            </a:xfrm>
            <a:prstGeom prst="rightArrow">
              <a:avLst/>
            </a:prstGeom>
            <a:solidFill>
              <a:srgbClr val="0000FF"/>
            </a:solidFill>
            <a:ln w="31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3B36A34-DAB2-A484-31D2-7BDEBCB02886}"/>
                </a:ext>
              </a:extLst>
            </p:cNvPr>
            <p:cNvSpPr txBox="1"/>
            <p:nvPr/>
          </p:nvSpPr>
          <p:spPr>
            <a:xfrm>
              <a:off x="4298359" y="2384625"/>
              <a:ext cx="330665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/>
                <a:t>Finance &amp; Economics</a:t>
              </a:r>
              <a:endParaRPr lang="en-FI" sz="2400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FC4B49E-9E3C-EC8B-DA9A-2F51085E56E7}"/>
              </a:ext>
            </a:extLst>
          </p:cNvPr>
          <p:cNvGrpSpPr/>
          <p:nvPr/>
        </p:nvGrpSpPr>
        <p:grpSpPr>
          <a:xfrm>
            <a:off x="4510017" y="4024312"/>
            <a:ext cx="3519065" cy="830997"/>
            <a:chOff x="4510017" y="3738562"/>
            <a:chExt cx="3519065" cy="830997"/>
          </a:xfrm>
        </p:grpSpPr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A70966D6-2235-43A3-9945-0A940DA01D46}"/>
                </a:ext>
              </a:extLst>
            </p:cNvPr>
            <p:cNvSpPr/>
            <p:nvPr/>
          </p:nvSpPr>
          <p:spPr>
            <a:xfrm>
              <a:off x="7604258" y="4011710"/>
              <a:ext cx="424824" cy="263060"/>
            </a:xfrm>
            <a:prstGeom prst="rightArrow">
              <a:avLst/>
            </a:prstGeom>
            <a:solidFill>
              <a:srgbClr val="0000FF"/>
            </a:solidFill>
            <a:ln w="31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0A3E65B-C74C-1085-B95D-9DC5560BA313}"/>
                </a:ext>
              </a:extLst>
            </p:cNvPr>
            <p:cNvSpPr txBox="1"/>
            <p:nvPr/>
          </p:nvSpPr>
          <p:spPr>
            <a:xfrm>
              <a:off x="4510017" y="3738562"/>
              <a:ext cx="330665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/>
                <a:t>Sometimes about technology </a:t>
              </a:r>
              <a:endParaRPr lang="en-FI" sz="2400" dirty="0"/>
            </a:p>
          </p:txBody>
        </p:sp>
      </p:grp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F3E83A17-A67F-A96B-07A0-A305A17AD743}"/>
              </a:ext>
            </a:extLst>
          </p:cNvPr>
          <p:cNvSpPr/>
          <p:nvPr/>
        </p:nvSpPr>
        <p:spPr>
          <a:xfrm>
            <a:off x="7711074" y="2812459"/>
            <a:ext cx="424824" cy="1529755"/>
          </a:xfrm>
          <a:prstGeom prst="rightArrow">
            <a:avLst/>
          </a:prstGeom>
          <a:solidFill>
            <a:srgbClr val="0000FF"/>
          </a:solidFill>
          <a:ln w="31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403014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6" grpId="1" animBg="1"/>
      <p:bldP spid="27" grpId="0" animBg="1"/>
      <p:bldP spid="30" grpId="0"/>
      <p:bldP spid="31" grpId="0"/>
      <p:bldP spid="32" grpId="0" animBg="1"/>
      <p:bldP spid="2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AA8DE506-A0EF-A163-A96F-4E9AF0192DC7}"/>
              </a:ext>
            </a:extLst>
          </p:cNvPr>
          <p:cNvSpPr/>
          <p:nvPr/>
        </p:nvSpPr>
        <p:spPr>
          <a:xfrm>
            <a:off x="10409290" y="63489"/>
            <a:ext cx="1695038" cy="7823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CF67ECD0-35EA-2F55-698A-EC60F1392F98}"/>
              </a:ext>
            </a:extLst>
          </p:cNvPr>
          <p:cNvGrpSpPr/>
          <p:nvPr/>
        </p:nvGrpSpPr>
        <p:grpSpPr>
          <a:xfrm>
            <a:off x="6932015" y="290509"/>
            <a:ext cx="5280716" cy="6233663"/>
            <a:chOff x="6932015" y="290509"/>
            <a:chExt cx="5280716" cy="6233663"/>
          </a:xfrm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1554DD64-453C-7464-9116-EA8186C13C41}"/>
                </a:ext>
              </a:extLst>
            </p:cNvPr>
            <p:cNvGrpSpPr/>
            <p:nvPr/>
          </p:nvGrpSpPr>
          <p:grpSpPr>
            <a:xfrm>
              <a:off x="6932015" y="290509"/>
              <a:ext cx="5280716" cy="6233663"/>
              <a:chOff x="6932015" y="290509"/>
              <a:chExt cx="5280716" cy="6233663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7075E1B9-ADB8-2249-941D-EE6A71416D37}"/>
                  </a:ext>
                </a:extLst>
              </p:cNvPr>
              <p:cNvSpPr/>
              <p:nvPr/>
            </p:nvSpPr>
            <p:spPr>
              <a:xfrm>
                <a:off x="10159193" y="295516"/>
                <a:ext cx="2053538" cy="622865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I"/>
              </a:p>
            </p:txBody>
          </p:sp>
          <p:sp>
            <p:nvSpPr>
              <p:cNvPr id="14" name="Trapezoid 13">
                <a:extLst>
                  <a:ext uri="{FF2B5EF4-FFF2-40B4-BE49-F238E27FC236}">
                    <a16:creationId xmlns:a16="http://schemas.microsoft.com/office/drawing/2014/main" id="{2E98C93B-99B7-C297-4116-326987CA6ED0}"/>
                  </a:ext>
                </a:extLst>
              </p:cNvPr>
              <p:cNvSpPr/>
              <p:nvPr/>
            </p:nvSpPr>
            <p:spPr>
              <a:xfrm rot="16200000">
                <a:off x="5432745" y="1789779"/>
                <a:ext cx="6233663" cy="3235123"/>
              </a:xfrm>
              <a:prstGeom prst="trapezoid">
                <a:avLst>
                  <a:gd name="adj" fmla="val 79829"/>
                </a:avLst>
              </a:prstGeom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bg1">
                      <a:lumMod val="85000"/>
                    </a:schemeClr>
                  </a:gs>
                  <a:gs pos="83000">
                    <a:schemeClr val="bg1">
                      <a:lumMod val="8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I"/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B8633D0-D55A-789A-80E6-6A4E0DF5185C}"/>
                </a:ext>
              </a:extLst>
            </p:cNvPr>
            <p:cNvSpPr txBox="1"/>
            <p:nvPr/>
          </p:nvSpPr>
          <p:spPr>
            <a:xfrm>
              <a:off x="10219517" y="329675"/>
              <a:ext cx="188481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Application</a:t>
              </a:r>
              <a:endParaRPr lang="en-FI" sz="2800" b="1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48CEBA9C-3149-04BD-8F89-84B4A8A388FD}"/>
              </a:ext>
            </a:extLst>
          </p:cNvPr>
          <p:cNvGrpSpPr/>
          <p:nvPr/>
        </p:nvGrpSpPr>
        <p:grpSpPr>
          <a:xfrm>
            <a:off x="-2359" y="285504"/>
            <a:ext cx="5273774" cy="6238668"/>
            <a:chOff x="5261" y="285504"/>
            <a:chExt cx="5273774" cy="6238668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B2997D1E-FAB9-CA06-80E4-AE51455FC213}"/>
                </a:ext>
              </a:extLst>
            </p:cNvPr>
            <p:cNvGrpSpPr/>
            <p:nvPr/>
          </p:nvGrpSpPr>
          <p:grpSpPr>
            <a:xfrm>
              <a:off x="5261" y="285504"/>
              <a:ext cx="5273774" cy="6238668"/>
              <a:chOff x="5261" y="285504"/>
              <a:chExt cx="5273774" cy="6238668"/>
            </a:xfrm>
          </p:grpSpPr>
          <p:sp>
            <p:nvSpPr>
              <p:cNvPr id="13" name="Trapezoid 12">
                <a:extLst>
                  <a:ext uri="{FF2B5EF4-FFF2-40B4-BE49-F238E27FC236}">
                    <a16:creationId xmlns:a16="http://schemas.microsoft.com/office/drawing/2014/main" id="{C5C58417-AE8D-3AB5-4D46-6D338D9599D6}"/>
                  </a:ext>
                </a:extLst>
              </p:cNvPr>
              <p:cNvSpPr/>
              <p:nvPr/>
            </p:nvSpPr>
            <p:spPr>
              <a:xfrm rot="5400000">
                <a:off x="544642" y="1789779"/>
                <a:ext cx="6233663" cy="3235123"/>
              </a:xfrm>
              <a:prstGeom prst="trapezoid">
                <a:avLst>
                  <a:gd name="adj" fmla="val 79829"/>
                </a:avLst>
              </a:prstGeom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bg1">
                      <a:lumMod val="85000"/>
                    </a:schemeClr>
                  </a:gs>
                  <a:gs pos="83000">
                    <a:schemeClr val="bg1">
                      <a:lumMod val="8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I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9F1D1494-F460-96FF-B52A-E1DFE8D7324A}"/>
                  </a:ext>
                </a:extLst>
              </p:cNvPr>
              <p:cNvSpPr/>
              <p:nvPr/>
            </p:nvSpPr>
            <p:spPr>
              <a:xfrm>
                <a:off x="5261" y="285504"/>
                <a:ext cx="2046596" cy="622865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I"/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B61BCA0-E14E-2833-B462-39F9CCD7AD10}"/>
                </a:ext>
              </a:extLst>
            </p:cNvPr>
            <p:cNvSpPr txBox="1"/>
            <p:nvPr/>
          </p:nvSpPr>
          <p:spPr>
            <a:xfrm>
              <a:off x="104268" y="321242"/>
              <a:ext cx="186140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Generation</a:t>
              </a:r>
              <a:endParaRPr lang="en-FI" sz="2800" b="1" dirty="0">
                <a:solidFill>
                  <a:srgbClr val="C00000"/>
                </a:solidFill>
              </a:endParaRP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684C02-F4F7-7CBB-9793-4056D4723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6951" y="6552256"/>
            <a:ext cx="647131" cy="244617"/>
          </a:xfrm>
        </p:spPr>
        <p:txBody>
          <a:bodyPr/>
          <a:lstStyle/>
          <a:p>
            <a:fld id="{F0753730-CA77-CA4E-8879-34FB69C671E1}" type="slidenum">
              <a:rPr lang="fi-FI" smtClean="0"/>
              <a:pPr/>
              <a:t>22</a:t>
            </a:fld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BD97EEB-E4DA-A293-9BD6-F7D100FC67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7522" y="2710360"/>
            <a:ext cx="1716956" cy="125670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BE2DA5F-75C2-E4E8-B58D-2B1D00871CFB}"/>
              </a:ext>
            </a:extLst>
          </p:cNvPr>
          <p:cNvSpPr txBox="1"/>
          <p:nvPr/>
        </p:nvSpPr>
        <p:spPr>
          <a:xfrm>
            <a:off x="8884893" y="2068065"/>
            <a:ext cx="1165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Electric Vehicles</a:t>
            </a:r>
            <a:endParaRPr lang="en-FI" sz="20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7D3B9C-8B1C-61CB-1B76-B585F9A2FB46}"/>
              </a:ext>
            </a:extLst>
          </p:cNvPr>
          <p:cNvSpPr txBox="1"/>
          <p:nvPr/>
        </p:nvSpPr>
        <p:spPr>
          <a:xfrm>
            <a:off x="4423930" y="2600197"/>
            <a:ext cx="4732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Oil</a:t>
            </a:r>
            <a:endParaRPr lang="en-FI" sz="20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842629F-F0D5-1065-A18A-DFD8FA375EFA}"/>
              </a:ext>
            </a:extLst>
          </p:cNvPr>
          <p:cNvSpPr txBox="1"/>
          <p:nvPr/>
        </p:nvSpPr>
        <p:spPr>
          <a:xfrm>
            <a:off x="7192353" y="3207522"/>
            <a:ext cx="12121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Electricity</a:t>
            </a:r>
            <a:endParaRPr lang="en-FI" sz="20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35405C-4B63-9395-D882-8228AF562ADC}"/>
              </a:ext>
            </a:extLst>
          </p:cNvPr>
          <p:cNvSpPr txBox="1"/>
          <p:nvPr/>
        </p:nvSpPr>
        <p:spPr>
          <a:xfrm>
            <a:off x="7192353" y="3704685"/>
            <a:ext cx="15388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Manufacture</a:t>
            </a:r>
            <a:endParaRPr lang="en-FI" sz="20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6FE9CFC-52F9-9CDE-8B46-C21D25E844EA}"/>
              </a:ext>
            </a:extLst>
          </p:cNvPr>
          <p:cNvSpPr txBox="1"/>
          <p:nvPr/>
        </p:nvSpPr>
        <p:spPr>
          <a:xfrm>
            <a:off x="4354680" y="3746487"/>
            <a:ext cx="6383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Coal</a:t>
            </a:r>
            <a:endParaRPr lang="en-FI" sz="20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00B85C5-92A8-F3AF-C34E-C20F9AA8CE1C}"/>
              </a:ext>
            </a:extLst>
          </p:cNvPr>
          <p:cNvSpPr txBox="1"/>
          <p:nvPr/>
        </p:nvSpPr>
        <p:spPr>
          <a:xfrm>
            <a:off x="4354680" y="3167603"/>
            <a:ext cx="5709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as</a:t>
            </a:r>
            <a:endParaRPr lang="en-FI" sz="20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CC7A1B7-6887-06CA-92C8-00E56720DA0A}"/>
              </a:ext>
            </a:extLst>
          </p:cNvPr>
          <p:cNvSpPr txBox="1"/>
          <p:nvPr/>
        </p:nvSpPr>
        <p:spPr>
          <a:xfrm>
            <a:off x="8830967" y="1067724"/>
            <a:ext cx="12737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ICE</a:t>
            </a:r>
          </a:p>
          <a:p>
            <a:pPr algn="ctr"/>
            <a:r>
              <a:rPr lang="en-US" sz="2000" dirty="0"/>
              <a:t>Petroleum</a:t>
            </a:r>
            <a:endParaRPr lang="en-FI" sz="20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695E41-FBC5-4B08-65A0-6591723A355C}"/>
              </a:ext>
            </a:extLst>
          </p:cNvPr>
          <p:cNvSpPr txBox="1"/>
          <p:nvPr/>
        </p:nvSpPr>
        <p:spPr>
          <a:xfrm>
            <a:off x="8840735" y="4777153"/>
            <a:ext cx="1196161" cy="707886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ICE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</a:rPr>
              <a:t>Ammonia</a:t>
            </a:r>
            <a:endParaRPr lang="en-FI" sz="20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6DBCC3C-2C32-92BC-AC7D-A68664A6E2AE}"/>
              </a:ext>
            </a:extLst>
          </p:cNvPr>
          <p:cNvSpPr txBox="1"/>
          <p:nvPr/>
        </p:nvSpPr>
        <p:spPr>
          <a:xfrm>
            <a:off x="8676659" y="3704685"/>
            <a:ext cx="14696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Hydrogen Fuel Cell</a:t>
            </a:r>
            <a:endParaRPr lang="en-FI" sz="20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2FC285-DBCE-EA21-21CE-90D207C3A739}"/>
              </a:ext>
            </a:extLst>
          </p:cNvPr>
          <p:cNvSpPr txBox="1"/>
          <p:nvPr/>
        </p:nvSpPr>
        <p:spPr>
          <a:xfrm>
            <a:off x="8934554" y="2967548"/>
            <a:ext cx="10198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Biofuels</a:t>
            </a:r>
            <a:endParaRPr lang="en-FI" sz="20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45EFA39-26AF-5385-747A-41707AF1DD0E}"/>
              </a:ext>
            </a:extLst>
          </p:cNvPr>
          <p:cNvSpPr txBox="1"/>
          <p:nvPr/>
        </p:nvSpPr>
        <p:spPr>
          <a:xfrm>
            <a:off x="7192353" y="2667339"/>
            <a:ext cx="11830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Transport</a:t>
            </a:r>
            <a:endParaRPr lang="en-FI" sz="20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6C72524-1173-99C6-B490-EFA7A341C6F5}"/>
              </a:ext>
            </a:extLst>
          </p:cNvPr>
          <p:cNvSpPr txBox="1"/>
          <p:nvPr/>
        </p:nvSpPr>
        <p:spPr>
          <a:xfrm>
            <a:off x="2848155" y="4533084"/>
            <a:ext cx="9941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dirty="0"/>
              <a:t>Nuclear</a:t>
            </a:r>
            <a:endParaRPr lang="en-FI" sz="20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1E25D50-5ED9-30FE-72AA-1087F25EEBE2}"/>
              </a:ext>
            </a:extLst>
          </p:cNvPr>
          <p:cNvGrpSpPr/>
          <p:nvPr/>
        </p:nvGrpSpPr>
        <p:grpSpPr>
          <a:xfrm>
            <a:off x="2398242" y="1627221"/>
            <a:ext cx="1446296" cy="2853889"/>
            <a:chOff x="2398242" y="1627221"/>
            <a:chExt cx="1446296" cy="2853889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3A2A974-7295-A59C-9994-FEEA3A614BBA}"/>
                </a:ext>
              </a:extLst>
            </p:cNvPr>
            <p:cNvSpPr txBox="1"/>
            <p:nvPr/>
          </p:nvSpPr>
          <p:spPr>
            <a:xfrm>
              <a:off x="3103630" y="2092631"/>
              <a:ext cx="74090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dirty="0"/>
                <a:t>Wind</a:t>
              </a:r>
              <a:endParaRPr lang="en-FI" sz="20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D046803-D153-F063-D5D4-D2BCB6F84309}"/>
                </a:ext>
              </a:extLst>
            </p:cNvPr>
            <p:cNvSpPr txBox="1"/>
            <p:nvPr/>
          </p:nvSpPr>
          <p:spPr>
            <a:xfrm>
              <a:off x="2398242" y="3167603"/>
              <a:ext cx="143661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dirty="0"/>
                <a:t>Geothermal</a:t>
              </a:r>
              <a:endParaRPr lang="en-FI" sz="2000" dirty="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FB2EDDC-C5F4-8FF3-28BD-7E4813D01331}"/>
                </a:ext>
              </a:extLst>
            </p:cNvPr>
            <p:cNvSpPr txBox="1"/>
            <p:nvPr/>
          </p:nvSpPr>
          <p:spPr>
            <a:xfrm>
              <a:off x="3028729" y="2603238"/>
              <a:ext cx="81233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dirty="0"/>
                <a:t>Hydro</a:t>
              </a:r>
              <a:endParaRPr lang="en-FI" sz="20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51BE2FD-7176-00E1-8FAF-C80CF13C6E12}"/>
                </a:ext>
              </a:extLst>
            </p:cNvPr>
            <p:cNvSpPr txBox="1"/>
            <p:nvPr/>
          </p:nvSpPr>
          <p:spPr>
            <a:xfrm>
              <a:off x="3133097" y="1627221"/>
              <a:ext cx="71045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dirty="0"/>
                <a:t>Solar</a:t>
              </a:r>
              <a:endParaRPr lang="en-FI" sz="2000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501B136-40EC-6F11-860F-EC24D4CF65E1}"/>
                </a:ext>
              </a:extLst>
            </p:cNvPr>
            <p:cNvSpPr txBox="1"/>
            <p:nvPr/>
          </p:nvSpPr>
          <p:spPr>
            <a:xfrm>
              <a:off x="3078749" y="4081000"/>
              <a:ext cx="76373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dirty="0"/>
                <a:t>Wave</a:t>
              </a:r>
              <a:endParaRPr lang="en-FI" sz="2000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2B78E5D-DF33-C687-92CC-2A8FC77C3881}"/>
                </a:ext>
              </a:extLst>
            </p:cNvPr>
            <p:cNvSpPr txBox="1"/>
            <p:nvPr/>
          </p:nvSpPr>
          <p:spPr>
            <a:xfrm>
              <a:off x="2709422" y="3666852"/>
              <a:ext cx="113050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000" dirty="0"/>
                <a:t>Biowaste</a:t>
              </a:r>
              <a:endParaRPr lang="en-FI" sz="2000" dirty="0"/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3D31944F-0B54-9532-F968-4844D4ABE225}"/>
              </a:ext>
            </a:extLst>
          </p:cNvPr>
          <p:cNvGrpSpPr/>
          <p:nvPr/>
        </p:nvGrpSpPr>
        <p:grpSpPr>
          <a:xfrm>
            <a:off x="50935" y="2710360"/>
            <a:ext cx="2608002" cy="1770750"/>
            <a:chOff x="50935" y="2710360"/>
            <a:chExt cx="2608002" cy="1770750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203EDD3-2199-71D4-32A5-1D98F81B9FCE}"/>
                </a:ext>
              </a:extLst>
            </p:cNvPr>
            <p:cNvSpPr txBox="1"/>
            <p:nvPr/>
          </p:nvSpPr>
          <p:spPr>
            <a:xfrm>
              <a:off x="50935" y="3196854"/>
              <a:ext cx="215528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02060"/>
                  </a:solidFill>
                </a:rPr>
                <a:t>Natural limitations to expansion</a:t>
              </a:r>
              <a:endParaRPr lang="en-FI" sz="2000" dirty="0">
                <a:solidFill>
                  <a:srgbClr val="002060"/>
                </a:solidFill>
              </a:endParaRPr>
            </a:p>
          </p:txBody>
        </p:sp>
        <p:sp>
          <p:nvSpPr>
            <p:cNvPr id="51" name="Left Brace 50">
              <a:extLst>
                <a:ext uri="{FF2B5EF4-FFF2-40B4-BE49-F238E27FC236}">
                  <a16:creationId xmlns:a16="http://schemas.microsoft.com/office/drawing/2014/main" id="{2439B9FC-7295-D646-75CC-5E3CAFACD30F}"/>
                </a:ext>
              </a:extLst>
            </p:cNvPr>
            <p:cNvSpPr/>
            <p:nvPr/>
          </p:nvSpPr>
          <p:spPr>
            <a:xfrm>
              <a:off x="2171476" y="2710360"/>
              <a:ext cx="487461" cy="1770750"/>
            </a:xfrm>
            <a:prstGeom prst="leftBrace">
              <a:avLst>
                <a:gd name="adj1" fmla="val 44421"/>
                <a:gd name="adj2" fmla="val 50000"/>
              </a:avLst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99C3B76C-7B3F-157D-2929-CF01AD60C904}"/>
              </a:ext>
            </a:extLst>
          </p:cNvPr>
          <p:cNvGrpSpPr/>
          <p:nvPr/>
        </p:nvGrpSpPr>
        <p:grpSpPr>
          <a:xfrm>
            <a:off x="83129" y="1701616"/>
            <a:ext cx="3049968" cy="707886"/>
            <a:chOff x="83129" y="1701616"/>
            <a:chExt cx="3049968" cy="707886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FBFED60-CDC0-D0F2-9E58-67774A510E7B}"/>
                </a:ext>
              </a:extLst>
            </p:cNvPr>
            <p:cNvSpPr txBox="1"/>
            <p:nvPr/>
          </p:nvSpPr>
          <p:spPr>
            <a:xfrm>
              <a:off x="83129" y="1701616"/>
              <a:ext cx="205348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02060"/>
                  </a:solidFill>
                </a:rPr>
                <a:t>Buffer to manage intermittency</a:t>
              </a:r>
              <a:endParaRPr lang="en-FI" sz="2000" dirty="0">
                <a:solidFill>
                  <a:srgbClr val="002060"/>
                </a:solidFill>
              </a:endParaRPr>
            </a:p>
          </p:txBody>
        </p: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73D3E62E-9844-2071-7C33-5B5FC67FB7FB}"/>
                </a:ext>
              </a:extLst>
            </p:cNvPr>
            <p:cNvCxnSpPr>
              <a:cxnSpLocks/>
              <a:stCxn id="41" idx="3"/>
              <a:endCxn id="37" idx="1"/>
            </p:cNvCxnSpPr>
            <p:nvPr/>
          </p:nvCxnSpPr>
          <p:spPr>
            <a:xfrm flipV="1">
              <a:off x="2136609" y="1827276"/>
              <a:ext cx="996488" cy="228283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9C8039E8-7B77-FC6B-6ECD-985179A7CE8B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2136609" y="2126470"/>
              <a:ext cx="967021" cy="166216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6EB614FF-074A-04CE-ECC6-59BE84157AFE}"/>
              </a:ext>
            </a:extLst>
          </p:cNvPr>
          <p:cNvGrpSpPr/>
          <p:nvPr/>
        </p:nvGrpSpPr>
        <p:grpSpPr>
          <a:xfrm>
            <a:off x="309118" y="4579251"/>
            <a:ext cx="2539037" cy="707886"/>
            <a:chOff x="309118" y="4579251"/>
            <a:chExt cx="2539037" cy="707886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2008275-61AB-59A1-8187-844C4044902F}"/>
                </a:ext>
              </a:extLst>
            </p:cNvPr>
            <p:cNvSpPr txBox="1"/>
            <p:nvPr/>
          </p:nvSpPr>
          <p:spPr>
            <a:xfrm>
              <a:off x="309118" y="4579251"/>
              <a:ext cx="165655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02060"/>
                  </a:solidFill>
                </a:rPr>
                <a:t>Can’t expand fast enough</a:t>
              </a:r>
              <a:endParaRPr lang="en-FI" sz="2000" dirty="0">
                <a:solidFill>
                  <a:srgbClr val="002060"/>
                </a:solidFill>
              </a:endParaRP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EB2B141E-6081-189E-6F58-AB6BF622F426}"/>
                </a:ext>
              </a:extLst>
            </p:cNvPr>
            <p:cNvCxnSpPr>
              <a:cxnSpLocks/>
              <a:stCxn id="45" idx="3"/>
              <a:endCxn id="35" idx="1"/>
            </p:cNvCxnSpPr>
            <p:nvPr/>
          </p:nvCxnSpPr>
          <p:spPr>
            <a:xfrm flipV="1">
              <a:off x="1965675" y="4733139"/>
              <a:ext cx="882480" cy="200055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54432E08-9802-8B5B-8852-7F8408E3FA32}"/>
              </a:ext>
            </a:extLst>
          </p:cNvPr>
          <p:cNvGrpSpPr/>
          <p:nvPr/>
        </p:nvGrpSpPr>
        <p:grpSpPr>
          <a:xfrm>
            <a:off x="10063747" y="1067724"/>
            <a:ext cx="1779115" cy="707886"/>
            <a:chOff x="10063747" y="1067724"/>
            <a:chExt cx="1779115" cy="707886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37FD3E2-B3E8-95ED-281A-FE776348757E}"/>
                </a:ext>
              </a:extLst>
            </p:cNvPr>
            <p:cNvSpPr txBox="1"/>
            <p:nvPr/>
          </p:nvSpPr>
          <p:spPr>
            <a:xfrm>
              <a:off x="10302234" y="1067724"/>
              <a:ext cx="154062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02060"/>
                  </a:solidFill>
                </a:rPr>
                <a:t>To be phased out</a:t>
              </a:r>
              <a:endParaRPr lang="en-FI" sz="2000" dirty="0">
                <a:solidFill>
                  <a:srgbClr val="002060"/>
                </a:solidFill>
              </a:endParaRPr>
            </a:p>
          </p:txBody>
        </p: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4E42B4EE-6791-0EF0-7352-867A1B5511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63747" y="1383486"/>
              <a:ext cx="371155" cy="0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F577FE30-48A9-6BCA-9208-52A686B08A2D}"/>
              </a:ext>
            </a:extLst>
          </p:cNvPr>
          <p:cNvGrpSpPr/>
          <p:nvPr/>
        </p:nvGrpSpPr>
        <p:grpSpPr>
          <a:xfrm>
            <a:off x="4673837" y="4104795"/>
            <a:ext cx="3287926" cy="1031317"/>
            <a:chOff x="4673837" y="4104795"/>
            <a:chExt cx="3287926" cy="1031317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20570AF-53A7-81E7-8EFD-D18762E83E10}"/>
                </a:ext>
              </a:extLst>
            </p:cNvPr>
            <p:cNvSpPr txBox="1"/>
            <p:nvPr/>
          </p:nvSpPr>
          <p:spPr>
            <a:xfrm>
              <a:off x="5769509" y="4736002"/>
              <a:ext cx="6808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/>
                <a:t>Heat</a:t>
              </a:r>
              <a:endParaRPr lang="en-FI" sz="2000" dirty="0"/>
            </a:p>
          </p:txBody>
        </p:sp>
        <p:cxnSp>
          <p:nvCxnSpPr>
            <p:cNvPr id="64" name="Connector: Elbow 63">
              <a:extLst>
                <a:ext uri="{FF2B5EF4-FFF2-40B4-BE49-F238E27FC236}">
                  <a16:creationId xmlns:a16="http://schemas.microsoft.com/office/drawing/2014/main" id="{F47CF46A-59AC-6A5B-0E2B-45D1C0FF84E5}"/>
                </a:ext>
              </a:extLst>
            </p:cNvPr>
            <p:cNvCxnSpPr>
              <a:cxnSpLocks/>
              <a:stCxn id="22" idx="2"/>
              <a:endCxn id="19" idx="1"/>
            </p:cNvCxnSpPr>
            <p:nvPr/>
          </p:nvCxnSpPr>
          <p:spPr>
            <a:xfrm rot="16200000" flipH="1">
              <a:off x="4826943" y="3993491"/>
              <a:ext cx="789460" cy="1095671"/>
            </a:xfrm>
            <a:prstGeom prst="bentConnector2">
              <a:avLst/>
            </a:prstGeom>
            <a:ln w="190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nector: Elbow 66">
              <a:extLst>
                <a:ext uri="{FF2B5EF4-FFF2-40B4-BE49-F238E27FC236}">
                  <a16:creationId xmlns:a16="http://schemas.microsoft.com/office/drawing/2014/main" id="{E330E75D-E163-1E3E-5183-6D1027B42DF3}"/>
                </a:ext>
              </a:extLst>
            </p:cNvPr>
            <p:cNvCxnSpPr>
              <a:cxnSpLocks/>
              <a:stCxn id="19" idx="3"/>
              <a:endCxn id="21" idx="2"/>
            </p:cNvCxnSpPr>
            <p:nvPr/>
          </p:nvCxnSpPr>
          <p:spPr>
            <a:xfrm flipV="1">
              <a:off x="6450336" y="4104795"/>
              <a:ext cx="1511427" cy="831262"/>
            </a:xfrm>
            <a:prstGeom prst="bentConnector2">
              <a:avLst/>
            </a:prstGeom>
            <a:ln w="190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8293C00-0304-8822-ACB6-D15E7E98C896}"/>
              </a:ext>
            </a:extLst>
          </p:cNvPr>
          <p:cNvGrpSpPr/>
          <p:nvPr/>
        </p:nvGrpSpPr>
        <p:grpSpPr>
          <a:xfrm>
            <a:off x="10091375" y="5377374"/>
            <a:ext cx="2142951" cy="1083875"/>
            <a:chOff x="10091375" y="5377374"/>
            <a:chExt cx="2142951" cy="1083875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F168975-EA19-C3A2-7909-C671FAF0ED17}"/>
                </a:ext>
              </a:extLst>
            </p:cNvPr>
            <p:cNvSpPr txBox="1"/>
            <p:nvPr/>
          </p:nvSpPr>
          <p:spPr>
            <a:xfrm>
              <a:off x="10180788" y="5445586"/>
              <a:ext cx="2053538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02060"/>
                  </a:solidFill>
                </a:rPr>
                <a:t>Can we produce the ammonia from seawater?</a:t>
              </a:r>
              <a:endParaRPr lang="en-FI" sz="2000" dirty="0">
                <a:solidFill>
                  <a:srgbClr val="002060"/>
                </a:solidFill>
              </a:endParaRPr>
            </a:p>
          </p:txBody>
        </p: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8CADA99C-6431-2E3D-213F-605047DF033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091375" y="5377374"/>
              <a:ext cx="210859" cy="412902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12A1CDB-7AD8-DD31-6E0E-FED8465D4AAF}"/>
              </a:ext>
            </a:extLst>
          </p:cNvPr>
          <p:cNvGrpSpPr/>
          <p:nvPr/>
        </p:nvGrpSpPr>
        <p:grpSpPr>
          <a:xfrm>
            <a:off x="10050789" y="2221953"/>
            <a:ext cx="1543528" cy="400110"/>
            <a:chOff x="10050789" y="2221953"/>
            <a:chExt cx="1543528" cy="400110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1141A01-4A51-C887-EC6A-32EA038D1886}"/>
                </a:ext>
              </a:extLst>
            </p:cNvPr>
            <p:cNvSpPr txBox="1"/>
            <p:nvPr/>
          </p:nvSpPr>
          <p:spPr>
            <a:xfrm>
              <a:off x="10475869" y="2221953"/>
              <a:ext cx="111844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002060"/>
                  </a:solidFill>
                </a:rPr>
                <a:t>Batteries</a:t>
              </a:r>
              <a:endParaRPr lang="en-FI" sz="2000" dirty="0">
                <a:solidFill>
                  <a:srgbClr val="002060"/>
                </a:solidFill>
              </a:endParaRPr>
            </a:p>
          </p:txBody>
        </p: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63F784BA-A010-40F9-FBA5-66B426F4398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50789" y="2453351"/>
              <a:ext cx="371155" cy="0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A079577A-9CEC-2014-08B0-B2023C063C22}"/>
              </a:ext>
            </a:extLst>
          </p:cNvPr>
          <p:cNvGrpSpPr/>
          <p:nvPr/>
        </p:nvGrpSpPr>
        <p:grpSpPr>
          <a:xfrm>
            <a:off x="9971201" y="2864687"/>
            <a:ext cx="2013272" cy="731048"/>
            <a:chOff x="9971201" y="2864687"/>
            <a:chExt cx="2013272" cy="731048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8BFB785-05B7-107A-859F-A436462AF48E}"/>
                </a:ext>
              </a:extLst>
            </p:cNvPr>
            <p:cNvSpPr txBox="1"/>
            <p:nvPr/>
          </p:nvSpPr>
          <p:spPr>
            <a:xfrm>
              <a:off x="10289435" y="2864687"/>
              <a:ext cx="1695038" cy="731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02060"/>
                  </a:solidFill>
                </a:rPr>
                <a:t>Limited supply of biomass</a:t>
              </a:r>
              <a:endParaRPr lang="en-FI" sz="2000" dirty="0">
                <a:solidFill>
                  <a:srgbClr val="002060"/>
                </a:solidFill>
              </a:endParaRPr>
            </a:p>
          </p:txBody>
        </p:sp>
        <p:cxnSp>
          <p:nvCxnSpPr>
            <p:cNvPr id="79" name="Straight Arrow Connector 78">
              <a:extLst>
                <a:ext uri="{FF2B5EF4-FFF2-40B4-BE49-F238E27FC236}">
                  <a16:creationId xmlns:a16="http://schemas.microsoft.com/office/drawing/2014/main" id="{60A62669-49FC-3E5A-24CF-E864906195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971201" y="3180445"/>
              <a:ext cx="371155" cy="0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47858C9-059C-8C29-8B34-665585F4D781}"/>
              </a:ext>
            </a:extLst>
          </p:cNvPr>
          <p:cNvGrpSpPr/>
          <p:nvPr/>
        </p:nvGrpSpPr>
        <p:grpSpPr>
          <a:xfrm>
            <a:off x="9993404" y="3718409"/>
            <a:ext cx="2098339" cy="1015663"/>
            <a:chOff x="9993404" y="3718409"/>
            <a:chExt cx="2098339" cy="101566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3CCBD8F-9C62-6A56-15A7-5449AD22A3C2}"/>
                </a:ext>
              </a:extLst>
            </p:cNvPr>
            <p:cNvSpPr txBox="1"/>
            <p:nvPr/>
          </p:nvSpPr>
          <p:spPr>
            <a:xfrm>
              <a:off x="10038204" y="3718409"/>
              <a:ext cx="205353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02060"/>
                  </a:solidFill>
                </a:rPr>
                <a:t>Limitations in storage and transport of H</a:t>
              </a:r>
              <a:r>
                <a:rPr lang="en-US" sz="2000" baseline="-25000" dirty="0">
                  <a:solidFill>
                    <a:srgbClr val="002060"/>
                  </a:solidFill>
                </a:rPr>
                <a:t>2</a:t>
              </a:r>
              <a:endParaRPr lang="en-FI" sz="2000" baseline="-25000" dirty="0">
                <a:solidFill>
                  <a:srgbClr val="002060"/>
                </a:solidFill>
              </a:endParaRPr>
            </a:p>
          </p:txBody>
        </p:sp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6DF759DD-5AA6-25F4-AF58-37F9A9FE53B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993404" y="4104795"/>
              <a:ext cx="371155" cy="192912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9B7341B8-C56C-1CA3-CDDA-51CADDAE0EE0}"/>
              </a:ext>
            </a:extLst>
          </p:cNvPr>
          <p:cNvCxnSpPr>
            <a:cxnSpLocks/>
          </p:cNvCxnSpPr>
          <p:nvPr/>
        </p:nvCxnSpPr>
        <p:spPr>
          <a:xfrm>
            <a:off x="9248495" y="1288340"/>
            <a:ext cx="420093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F3217688-7E1E-C9B6-9DD2-6675C9CE67B0}"/>
              </a:ext>
            </a:extLst>
          </p:cNvPr>
          <p:cNvCxnSpPr>
            <a:cxnSpLocks/>
          </p:cNvCxnSpPr>
          <p:nvPr/>
        </p:nvCxnSpPr>
        <p:spPr>
          <a:xfrm>
            <a:off x="8919314" y="1592860"/>
            <a:ext cx="1116235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837D3FBC-3F98-373F-D056-DF562DCAFF73}"/>
              </a:ext>
            </a:extLst>
          </p:cNvPr>
          <p:cNvSpPr txBox="1"/>
          <p:nvPr/>
        </p:nvSpPr>
        <p:spPr>
          <a:xfrm>
            <a:off x="128993" y="5607705"/>
            <a:ext cx="1989891" cy="70788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Liquid Fuel Fission Th MSR</a:t>
            </a:r>
            <a:endParaRPr lang="en-FI" sz="2000" dirty="0">
              <a:solidFill>
                <a:schemeClr val="bg1"/>
              </a:solidFill>
            </a:endParaRP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6E46B71C-1401-7D46-EAD8-53D66D78360E}"/>
              </a:ext>
            </a:extLst>
          </p:cNvPr>
          <p:cNvSpPr/>
          <p:nvPr/>
        </p:nvSpPr>
        <p:spPr>
          <a:xfrm>
            <a:off x="3120813" y="1678113"/>
            <a:ext cx="719111" cy="775237"/>
          </a:xfrm>
          <a:prstGeom prst="roundRect">
            <a:avLst/>
          </a:prstGeom>
          <a:solidFill>
            <a:srgbClr val="FF0000">
              <a:alpha val="13000"/>
            </a:srgbClr>
          </a:solidFill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62E6BBDE-CB25-A360-4042-AD83EE46D326}"/>
              </a:ext>
            </a:extLst>
          </p:cNvPr>
          <p:cNvCxnSpPr>
            <a:cxnSpLocks/>
          </p:cNvCxnSpPr>
          <p:nvPr/>
        </p:nvCxnSpPr>
        <p:spPr>
          <a:xfrm>
            <a:off x="8884893" y="3927492"/>
            <a:ext cx="1086308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BD0BBA6-FA4C-9F48-D086-637A7E56749A}"/>
              </a:ext>
            </a:extLst>
          </p:cNvPr>
          <p:cNvCxnSpPr>
            <a:cxnSpLocks/>
          </p:cNvCxnSpPr>
          <p:nvPr/>
        </p:nvCxnSpPr>
        <p:spPr>
          <a:xfrm>
            <a:off x="8879837" y="4230050"/>
            <a:ext cx="1066168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AEFED411-DD3A-DCA6-1AA5-66D70C6479CE}"/>
              </a:ext>
            </a:extLst>
          </p:cNvPr>
          <p:cNvCxnSpPr>
            <a:cxnSpLocks/>
          </p:cNvCxnSpPr>
          <p:nvPr/>
        </p:nvCxnSpPr>
        <p:spPr>
          <a:xfrm>
            <a:off x="8991396" y="2592577"/>
            <a:ext cx="979805" cy="3041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D20007AB-667E-40E3-F805-708D9DD0D300}"/>
              </a:ext>
            </a:extLst>
          </p:cNvPr>
          <p:cNvCxnSpPr>
            <a:cxnSpLocks/>
          </p:cNvCxnSpPr>
          <p:nvPr/>
        </p:nvCxnSpPr>
        <p:spPr>
          <a:xfrm>
            <a:off x="9023208" y="2292686"/>
            <a:ext cx="887872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46C965E-BD54-6990-301C-51238C379C0B}"/>
              </a:ext>
            </a:extLst>
          </p:cNvPr>
          <p:cNvCxnSpPr>
            <a:cxnSpLocks/>
          </p:cNvCxnSpPr>
          <p:nvPr/>
        </p:nvCxnSpPr>
        <p:spPr>
          <a:xfrm>
            <a:off x="8976333" y="3191289"/>
            <a:ext cx="937733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3AB54AAA-507A-3BBD-D8EC-D4DD78D38818}"/>
              </a:ext>
            </a:extLst>
          </p:cNvPr>
          <p:cNvCxnSpPr>
            <a:cxnSpLocks/>
          </p:cNvCxnSpPr>
          <p:nvPr/>
        </p:nvCxnSpPr>
        <p:spPr>
          <a:xfrm>
            <a:off x="3064626" y="2825217"/>
            <a:ext cx="85253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8102E86D-359D-A50D-7B44-6236FFA450A3}"/>
              </a:ext>
            </a:extLst>
          </p:cNvPr>
          <p:cNvCxnSpPr>
            <a:cxnSpLocks/>
          </p:cNvCxnSpPr>
          <p:nvPr/>
        </p:nvCxnSpPr>
        <p:spPr>
          <a:xfrm>
            <a:off x="3200492" y="1850500"/>
            <a:ext cx="592839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43ED0541-7972-000F-03A8-1385249BF882}"/>
              </a:ext>
            </a:extLst>
          </p:cNvPr>
          <p:cNvCxnSpPr>
            <a:cxnSpLocks/>
          </p:cNvCxnSpPr>
          <p:nvPr/>
        </p:nvCxnSpPr>
        <p:spPr>
          <a:xfrm>
            <a:off x="3184325" y="2318880"/>
            <a:ext cx="609006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6998D5DB-8AB8-D089-820C-14B910BD8428}"/>
              </a:ext>
            </a:extLst>
          </p:cNvPr>
          <p:cNvCxnSpPr>
            <a:cxnSpLocks/>
          </p:cNvCxnSpPr>
          <p:nvPr/>
        </p:nvCxnSpPr>
        <p:spPr>
          <a:xfrm>
            <a:off x="2903751" y="4751866"/>
            <a:ext cx="915097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0AA6D8A2-E3AE-0772-40FF-F3666C06EB4C}"/>
              </a:ext>
            </a:extLst>
          </p:cNvPr>
          <p:cNvCxnSpPr>
            <a:cxnSpLocks/>
          </p:cNvCxnSpPr>
          <p:nvPr/>
        </p:nvCxnSpPr>
        <p:spPr>
          <a:xfrm>
            <a:off x="2908621" y="4972593"/>
            <a:ext cx="858042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F437E9AB-AB4C-2006-A912-412DCB6318D4}"/>
              </a:ext>
            </a:extLst>
          </p:cNvPr>
          <p:cNvCxnSpPr>
            <a:cxnSpLocks/>
          </p:cNvCxnSpPr>
          <p:nvPr/>
        </p:nvCxnSpPr>
        <p:spPr>
          <a:xfrm>
            <a:off x="2466725" y="3388981"/>
            <a:ext cx="1377813" cy="3708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DB9813A7-7FD7-9347-D346-1D2AE90AD590}"/>
              </a:ext>
            </a:extLst>
          </p:cNvPr>
          <p:cNvCxnSpPr>
            <a:cxnSpLocks/>
          </p:cNvCxnSpPr>
          <p:nvPr/>
        </p:nvCxnSpPr>
        <p:spPr>
          <a:xfrm>
            <a:off x="2746553" y="3884365"/>
            <a:ext cx="1115833" cy="6089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6C29CB89-D5E9-0C9F-AF92-5F3E1E8D4118}"/>
              </a:ext>
            </a:extLst>
          </p:cNvPr>
          <p:cNvCxnSpPr>
            <a:cxnSpLocks/>
          </p:cNvCxnSpPr>
          <p:nvPr/>
        </p:nvCxnSpPr>
        <p:spPr>
          <a:xfrm>
            <a:off x="3047819" y="4303524"/>
            <a:ext cx="852530" cy="0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836B4266-F530-6BBF-F33C-28A64312F78C}"/>
              </a:ext>
            </a:extLst>
          </p:cNvPr>
          <p:cNvSpPr txBox="1"/>
          <p:nvPr/>
        </p:nvSpPr>
        <p:spPr>
          <a:xfrm>
            <a:off x="2825483" y="4772538"/>
            <a:ext cx="10243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dirty="0"/>
              <a:t>U (LWR)</a:t>
            </a:r>
            <a:endParaRPr lang="en-FI" sz="2000" dirty="0"/>
          </a:p>
        </p:txBody>
      </p:sp>
      <p:sp>
        <p:nvSpPr>
          <p:cNvPr id="144" name="Isosceles Triangle 143">
            <a:extLst>
              <a:ext uri="{FF2B5EF4-FFF2-40B4-BE49-F238E27FC236}">
                <a16:creationId xmlns:a16="http://schemas.microsoft.com/office/drawing/2014/main" id="{07A0F897-6E80-A80D-3728-A5B226B24335}"/>
              </a:ext>
            </a:extLst>
          </p:cNvPr>
          <p:cNvSpPr/>
          <p:nvPr/>
        </p:nvSpPr>
        <p:spPr>
          <a:xfrm rot="10800000">
            <a:off x="6105098" y="4910255"/>
            <a:ext cx="153718" cy="159614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45" name="Isosceles Triangle 144">
            <a:extLst>
              <a:ext uri="{FF2B5EF4-FFF2-40B4-BE49-F238E27FC236}">
                <a16:creationId xmlns:a16="http://schemas.microsoft.com/office/drawing/2014/main" id="{102BD604-D216-200C-936D-126AF4700024}"/>
              </a:ext>
            </a:extLst>
          </p:cNvPr>
          <p:cNvSpPr/>
          <p:nvPr/>
        </p:nvSpPr>
        <p:spPr>
          <a:xfrm rot="10800000">
            <a:off x="5944614" y="4910256"/>
            <a:ext cx="153718" cy="159614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cxnSp>
        <p:nvCxnSpPr>
          <p:cNvPr id="146" name="Connector: Elbow 145">
            <a:extLst>
              <a:ext uri="{FF2B5EF4-FFF2-40B4-BE49-F238E27FC236}">
                <a16:creationId xmlns:a16="http://schemas.microsoft.com/office/drawing/2014/main" id="{9FAC2E1A-7701-A278-5C53-699FD187F803}"/>
              </a:ext>
            </a:extLst>
          </p:cNvPr>
          <p:cNvCxnSpPr>
            <a:cxnSpLocks/>
            <a:stCxn id="25" idx="2"/>
            <a:endCxn id="144" idx="0"/>
          </p:cNvCxnSpPr>
          <p:nvPr/>
        </p:nvCxnSpPr>
        <p:spPr>
          <a:xfrm rot="5400000" flipH="1">
            <a:off x="7602802" y="3649025"/>
            <a:ext cx="415170" cy="3256859"/>
          </a:xfrm>
          <a:prstGeom prst="bentConnector3">
            <a:avLst>
              <a:gd name="adj1" fmla="val -114712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Connector: Elbow 148">
            <a:extLst>
              <a:ext uri="{FF2B5EF4-FFF2-40B4-BE49-F238E27FC236}">
                <a16:creationId xmlns:a16="http://schemas.microsoft.com/office/drawing/2014/main" id="{BECAD210-8592-97CE-07EB-CBC091AF7D9D}"/>
              </a:ext>
            </a:extLst>
          </p:cNvPr>
          <p:cNvCxnSpPr>
            <a:cxnSpLocks/>
            <a:stCxn id="94" idx="3"/>
            <a:endCxn id="145" idx="0"/>
          </p:cNvCxnSpPr>
          <p:nvPr/>
        </p:nvCxnSpPr>
        <p:spPr>
          <a:xfrm flipV="1">
            <a:off x="2118884" y="5069870"/>
            <a:ext cx="3902589" cy="891778"/>
          </a:xfrm>
          <a:prstGeom prst="bentConnector2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: Rounded Corners 152">
            <a:extLst>
              <a:ext uri="{FF2B5EF4-FFF2-40B4-BE49-F238E27FC236}">
                <a16:creationId xmlns:a16="http://schemas.microsoft.com/office/drawing/2014/main" id="{2CEE6B98-2005-11FE-AC53-0E7AA16B4941}"/>
              </a:ext>
            </a:extLst>
          </p:cNvPr>
          <p:cNvSpPr/>
          <p:nvPr/>
        </p:nvSpPr>
        <p:spPr>
          <a:xfrm>
            <a:off x="45369" y="5574029"/>
            <a:ext cx="2160853" cy="775237"/>
          </a:xfrm>
          <a:prstGeom prst="roundRect">
            <a:avLst/>
          </a:prstGeom>
          <a:solidFill>
            <a:srgbClr val="FF0000">
              <a:alpha val="13000"/>
            </a:srgbClr>
          </a:solidFill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8E912F-4CA0-28DC-1944-7AE5DC19C9E8}"/>
              </a:ext>
            </a:extLst>
          </p:cNvPr>
          <p:cNvGrpSpPr/>
          <p:nvPr/>
        </p:nvGrpSpPr>
        <p:grpSpPr>
          <a:xfrm>
            <a:off x="10036896" y="4990285"/>
            <a:ext cx="2164191" cy="400110"/>
            <a:chOff x="10036896" y="4990285"/>
            <a:chExt cx="2164191" cy="40011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17F1BFB-36F5-B2B2-6FD7-4B17EFFF3031}"/>
                </a:ext>
              </a:extLst>
            </p:cNvPr>
            <p:cNvSpPr txBox="1"/>
            <p:nvPr/>
          </p:nvSpPr>
          <p:spPr>
            <a:xfrm>
              <a:off x="10147549" y="4990285"/>
              <a:ext cx="205353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002060"/>
                  </a:solidFill>
                </a:rPr>
                <a:t>Exhaust gas?</a:t>
              </a:r>
              <a:endParaRPr lang="en-FI" sz="2000" dirty="0">
                <a:solidFill>
                  <a:srgbClr val="002060"/>
                </a:solidFill>
              </a:endParaRPr>
            </a:p>
          </p:txBody>
        </p: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479A235E-BB7D-6EBE-8492-DCD9AF013341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 flipV="1">
              <a:off x="10036896" y="5131096"/>
              <a:ext cx="372394" cy="41552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35568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2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5" fill="hold">
                      <p:stCondLst>
                        <p:cond delay="indefinite"/>
                      </p:stCondLst>
                      <p:childTnLst>
                        <p:par>
                          <p:cTn id="156" fill="hold">
                            <p:stCondLst>
                              <p:cond delay="0"/>
                            </p:stCondLst>
                            <p:childTnLst>
                              <p:par>
                                <p:cTn id="1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0" fill="hold">
                      <p:stCondLst>
                        <p:cond delay="indefinite"/>
                      </p:stCondLst>
                      <p:childTnLst>
                        <p:par>
                          <p:cTn id="161" fill="hold">
                            <p:stCondLst>
                              <p:cond delay="0"/>
                            </p:stCondLst>
                            <p:childTnLst>
                              <p:par>
                                <p:cTn id="1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>
                      <p:stCondLst>
                        <p:cond delay="indefinite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>
                      <p:stCondLst>
                        <p:cond delay="indefinite"/>
                      </p:stCondLst>
                      <p:childTnLst>
                        <p:par>
                          <p:cTn id="184" fill="hold">
                            <p:stCondLst>
                              <p:cond delay="0"/>
                            </p:stCondLst>
                            <p:childTnLst>
                              <p:par>
                                <p:cTn id="18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>
                      <p:stCondLst>
                        <p:cond delay="indefinite"/>
                      </p:stCondLst>
                      <p:childTnLst>
                        <p:par>
                          <p:cTn id="189" fill="hold">
                            <p:stCondLst>
                              <p:cond delay="0"/>
                            </p:stCondLst>
                            <p:childTnLst>
                              <p:par>
                                <p:cTn id="19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3" fill="hold">
                      <p:stCondLst>
                        <p:cond delay="indefinite"/>
                      </p:stCondLst>
                      <p:childTnLst>
                        <p:par>
                          <p:cTn id="194" fill="hold">
                            <p:stCondLst>
                              <p:cond delay="0"/>
                            </p:stCondLst>
                            <p:childTnLst>
                              <p:par>
                                <p:cTn id="19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1" fill="hold">
                      <p:stCondLst>
                        <p:cond delay="indefinite"/>
                      </p:stCondLst>
                      <p:childTnLst>
                        <p:par>
                          <p:cTn id="202" fill="hold">
                            <p:stCondLst>
                              <p:cond delay="0"/>
                            </p:stCondLst>
                            <p:childTnLst>
                              <p:par>
                                <p:cTn id="20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6" fill="hold">
                      <p:stCondLst>
                        <p:cond delay="indefinite"/>
                      </p:stCondLst>
                      <p:childTnLst>
                        <p:par>
                          <p:cTn id="207" fill="hold">
                            <p:stCondLst>
                              <p:cond delay="0"/>
                            </p:stCondLst>
                            <p:childTnLst>
                              <p:par>
                                <p:cTn id="20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1" fill="hold">
                      <p:stCondLst>
                        <p:cond delay="indefinite"/>
                      </p:stCondLst>
                      <p:childTnLst>
                        <p:par>
                          <p:cTn id="212" fill="hold">
                            <p:stCondLst>
                              <p:cond delay="0"/>
                            </p:stCondLst>
                            <p:childTnLst>
                              <p:par>
                                <p:cTn id="2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6" fill="hold">
                      <p:stCondLst>
                        <p:cond delay="indefinite"/>
                      </p:stCondLst>
                      <p:childTnLst>
                        <p:par>
                          <p:cTn id="217" fill="hold">
                            <p:stCondLst>
                              <p:cond delay="0"/>
                            </p:stCondLst>
                            <p:childTnLst>
                              <p:par>
                                <p:cTn id="2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1" fill="hold">
                      <p:stCondLst>
                        <p:cond delay="indefinite"/>
                      </p:stCondLst>
                      <p:childTnLst>
                        <p:par>
                          <p:cTn id="222" fill="hold">
                            <p:stCondLst>
                              <p:cond delay="0"/>
                            </p:stCondLst>
                            <p:childTnLst>
                              <p:par>
                                <p:cTn id="2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5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0" grpId="0"/>
      <p:bldP spid="21" grpId="0"/>
      <p:bldP spid="22" grpId="0"/>
      <p:bldP spid="23" grpId="0"/>
      <p:bldP spid="24" grpId="0"/>
      <p:bldP spid="25" grpId="0" animBg="1"/>
      <p:bldP spid="26" grpId="0"/>
      <p:bldP spid="27" grpId="0"/>
      <p:bldP spid="28" grpId="0"/>
      <p:bldP spid="35" grpId="0"/>
      <p:bldP spid="94" grpId="0" animBg="1"/>
      <p:bldP spid="103" grpId="0" animBg="1"/>
      <p:bldP spid="103" grpId="1" animBg="1"/>
      <p:bldP spid="138" grpId="0"/>
      <p:bldP spid="15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AA8DE506-A0EF-A163-A96F-4E9AF0192DC7}"/>
              </a:ext>
            </a:extLst>
          </p:cNvPr>
          <p:cNvSpPr/>
          <p:nvPr/>
        </p:nvSpPr>
        <p:spPr>
          <a:xfrm>
            <a:off x="10409290" y="63489"/>
            <a:ext cx="1695038" cy="7823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CF67ECD0-35EA-2F55-698A-EC60F1392F98}"/>
              </a:ext>
            </a:extLst>
          </p:cNvPr>
          <p:cNvGrpSpPr/>
          <p:nvPr/>
        </p:nvGrpSpPr>
        <p:grpSpPr>
          <a:xfrm>
            <a:off x="6932015" y="290509"/>
            <a:ext cx="5280716" cy="6233663"/>
            <a:chOff x="6932015" y="290509"/>
            <a:chExt cx="5280716" cy="6233663"/>
          </a:xfrm>
        </p:grpSpPr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1554DD64-453C-7464-9116-EA8186C13C41}"/>
                </a:ext>
              </a:extLst>
            </p:cNvPr>
            <p:cNvGrpSpPr/>
            <p:nvPr/>
          </p:nvGrpSpPr>
          <p:grpSpPr>
            <a:xfrm>
              <a:off x="6932015" y="290509"/>
              <a:ext cx="5280716" cy="6233663"/>
              <a:chOff x="6932015" y="290509"/>
              <a:chExt cx="5280716" cy="6233663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7075E1B9-ADB8-2249-941D-EE6A71416D37}"/>
                  </a:ext>
                </a:extLst>
              </p:cNvPr>
              <p:cNvSpPr/>
              <p:nvPr/>
            </p:nvSpPr>
            <p:spPr>
              <a:xfrm>
                <a:off x="10159193" y="295516"/>
                <a:ext cx="2053538" cy="622865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I"/>
              </a:p>
            </p:txBody>
          </p:sp>
          <p:sp>
            <p:nvSpPr>
              <p:cNvPr id="14" name="Trapezoid 13">
                <a:extLst>
                  <a:ext uri="{FF2B5EF4-FFF2-40B4-BE49-F238E27FC236}">
                    <a16:creationId xmlns:a16="http://schemas.microsoft.com/office/drawing/2014/main" id="{2E98C93B-99B7-C297-4116-326987CA6ED0}"/>
                  </a:ext>
                </a:extLst>
              </p:cNvPr>
              <p:cNvSpPr/>
              <p:nvPr/>
            </p:nvSpPr>
            <p:spPr>
              <a:xfrm rot="16200000">
                <a:off x="5432745" y="1789779"/>
                <a:ext cx="6233663" cy="3235123"/>
              </a:xfrm>
              <a:prstGeom prst="trapezoid">
                <a:avLst>
                  <a:gd name="adj" fmla="val 79829"/>
                </a:avLst>
              </a:prstGeom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bg1">
                      <a:lumMod val="85000"/>
                    </a:schemeClr>
                  </a:gs>
                  <a:gs pos="83000">
                    <a:schemeClr val="bg1">
                      <a:lumMod val="8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I"/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B8633D0-D55A-789A-80E6-6A4E0DF5185C}"/>
                </a:ext>
              </a:extLst>
            </p:cNvPr>
            <p:cNvSpPr txBox="1"/>
            <p:nvPr/>
          </p:nvSpPr>
          <p:spPr>
            <a:xfrm>
              <a:off x="10219517" y="329675"/>
              <a:ext cx="188481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Application</a:t>
              </a:r>
              <a:endParaRPr lang="en-FI" sz="2800" b="1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48CEBA9C-3149-04BD-8F89-84B4A8A388FD}"/>
              </a:ext>
            </a:extLst>
          </p:cNvPr>
          <p:cNvGrpSpPr/>
          <p:nvPr/>
        </p:nvGrpSpPr>
        <p:grpSpPr>
          <a:xfrm>
            <a:off x="-2359" y="285504"/>
            <a:ext cx="5273774" cy="6238668"/>
            <a:chOff x="5261" y="285504"/>
            <a:chExt cx="5273774" cy="6238668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B2997D1E-FAB9-CA06-80E4-AE51455FC213}"/>
                </a:ext>
              </a:extLst>
            </p:cNvPr>
            <p:cNvGrpSpPr/>
            <p:nvPr/>
          </p:nvGrpSpPr>
          <p:grpSpPr>
            <a:xfrm>
              <a:off x="5261" y="285504"/>
              <a:ext cx="5273774" cy="6238668"/>
              <a:chOff x="5261" y="285504"/>
              <a:chExt cx="5273774" cy="6238668"/>
            </a:xfrm>
          </p:grpSpPr>
          <p:sp>
            <p:nvSpPr>
              <p:cNvPr id="13" name="Trapezoid 12">
                <a:extLst>
                  <a:ext uri="{FF2B5EF4-FFF2-40B4-BE49-F238E27FC236}">
                    <a16:creationId xmlns:a16="http://schemas.microsoft.com/office/drawing/2014/main" id="{C5C58417-AE8D-3AB5-4D46-6D338D9599D6}"/>
                  </a:ext>
                </a:extLst>
              </p:cNvPr>
              <p:cNvSpPr/>
              <p:nvPr/>
            </p:nvSpPr>
            <p:spPr>
              <a:xfrm rot="5400000">
                <a:off x="544642" y="1789779"/>
                <a:ext cx="6233663" cy="3235123"/>
              </a:xfrm>
              <a:prstGeom prst="trapezoid">
                <a:avLst>
                  <a:gd name="adj" fmla="val 79829"/>
                </a:avLst>
              </a:prstGeom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bg1">
                      <a:lumMod val="85000"/>
                    </a:schemeClr>
                  </a:gs>
                  <a:gs pos="83000">
                    <a:schemeClr val="bg1">
                      <a:lumMod val="8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I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9F1D1494-F460-96FF-B52A-E1DFE8D7324A}"/>
                  </a:ext>
                </a:extLst>
              </p:cNvPr>
              <p:cNvSpPr/>
              <p:nvPr/>
            </p:nvSpPr>
            <p:spPr>
              <a:xfrm>
                <a:off x="5261" y="285504"/>
                <a:ext cx="2046596" cy="6228656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FI"/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B61BCA0-E14E-2833-B462-39F9CCD7AD10}"/>
                </a:ext>
              </a:extLst>
            </p:cNvPr>
            <p:cNvSpPr txBox="1"/>
            <p:nvPr/>
          </p:nvSpPr>
          <p:spPr>
            <a:xfrm>
              <a:off x="104268" y="321242"/>
              <a:ext cx="186140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Generation</a:t>
              </a:r>
              <a:endParaRPr lang="en-FI" sz="2800" b="1" dirty="0">
                <a:solidFill>
                  <a:srgbClr val="C00000"/>
                </a:solidFill>
              </a:endParaRPr>
            </a:p>
          </p:txBody>
        </p: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684C02-F4F7-7CBB-9793-4056D4723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6951" y="6552256"/>
            <a:ext cx="647131" cy="244617"/>
          </a:xfrm>
        </p:spPr>
        <p:txBody>
          <a:bodyPr/>
          <a:lstStyle/>
          <a:p>
            <a:fld id="{F0753730-CA77-CA4E-8879-34FB69C671E1}" type="slidenum">
              <a:rPr lang="fi-FI" smtClean="0"/>
              <a:pPr/>
              <a:t>23</a:t>
            </a:fld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BD97EEB-E4DA-A293-9BD6-F7D100FC67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7522" y="2710360"/>
            <a:ext cx="1716956" cy="125670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E842629F-F0D5-1065-A18A-DFD8FA375EFA}"/>
              </a:ext>
            </a:extLst>
          </p:cNvPr>
          <p:cNvSpPr txBox="1"/>
          <p:nvPr/>
        </p:nvSpPr>
        <p:spPr>
          <a:xfrm>
            <a:off x="7192353" y="3207522"/>
            <a:ext cx="12121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Electricity</a:t>
            </a:r>
            <a:endParaRPr lang="en-FI" sz="20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35405C-4B63-9395-D882-8228AF562ADC}"/>
              </a:ext>
            </a:extLst>
          </p:cNvPr>
          <p:cNvSpPr txBox="1"/>
          <p:nvPr/>
        </p:nvSpPr>
        <p:spPr>
          <a:xfrm>
            <a:off x="7192353" y="3704685"/>
            <a:ext cx="15388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Manufacture</a:t>
            </a:r>
            <a:endParaRPr lang="en-FI" sz="20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695E41-FBC5-4B08-65A0-6591723A355C}"/>
              </a:ext>
            </a:extLst>
          </p:cNvPr>
          <p:cNvSpPr txBox="1"/>
          <p:nvPr/>
        </p:nvSpPr>
        <p:spPr>
          <a:xfrm>
            <a:off x="9707545" y="2828835"/>
            <a:ext cx="1394934" cy="83099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ICE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</a:rPr>
              <a:t>Ammonia</a:t>
            </a:r>
            <a:endParaRPr lang="en-FI" sz="2400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45EFA39-26AF-5385-747A-41707AF1DD0E}"/>
              </a:ext>
            </a:extLst>
          </p:cNvPr>
          <p:cNvSpPr txBox="1"/>
          <p:nvPr/>
        </p:nvSpPr>
        <p:spPr>
          <a:xfrm>
            <a:off x="7192353" y="2667339"/>
            <a:ext cx="11830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Transport</a:t>
            </a:r>
            <a:endParaRPr lang="en-FI" sz="2000" dirty="0"/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F577FE30-48A9-6BCA-9208-52A686B08A2D}"/>
              </a:ext>
            </a:extLst>
          </p:cNvPr>
          <p:cNvGrpSpPr/>
          <p:nvPr/>
        </p:nvGrpSpPr>
        <p:grpSpPr>
          <a:xfrm>
            <a:off x="5769509" y="4104795"/>
            <a:ext cx="2192254" cy="1031317"/>
            <a:chOff x="5769509" y="4104795"/>
            <a:chExt cx="2192254" cy="1031317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20570AF-53A7-81E7-8EFD-D18762E83E10}"/>
                </a:ext>
              </a:extLst>
            </p:cNvPr>
            <p:cNvSpPr txBox="1"/>
            <p:nvPr/>
          </p:nvSpPr>
          <p:spPr>
            <a:xfrm>
              <a:off x="5769509" y="4736002"/>
              <a:ext cx="6808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/>
                <a:t>Heat</a:t>
              </a:r>
              <a:endParaRPr lang="en-FI" sz="2000" dirty="0"/>
            </a:p>
          </p:txBody>
        </p:sp>
        <p:cxnSp>
          <p:nvCxnSpPr>
            <p:cNvPr id="67" name="Connector: Elbow 66">
              <a:extLst>
                <a:ext uri="{FF2B5EF4-FFF2-40B4-BE49-F238E27FC236}">
                  <a16:creationId xmlns:a16="http://schemas.microsoft.com/office/drawing/2014/main" id="{E330E75D-E163-1E3E-5183-6D1027B42DF3}"/>
                </a:ext>
              </a:extLst>
            </p:cNvPr>
            <p:cNvCxnSpPr>
              <a:cxnSpLocks/>
              <a:stCxn id="19" idx="3"/>
              <a:endCxn id="21" idx="2"/>
            </p:cNvCxnSpPr>
            <p:nvPr/>
          </p:nvCxnSpPr>
          <p:spPr>
            <a:xfrm flipV="1">
              <a:off x="6450336" y="4104795"/>
              <a:ext cx="1511427" cy="831262"/>
            </a:xfrm>
            <a:prstGeom prst="bentConnector2">
              <a:avLst/>
            </a:prstGeom>
            <a:ln w="190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837D3FBC-3F98-373F-D056-DF562DCAFF73}"/>
              </a:ext>
            </a:extLst>
          </p:cNvPr>
          <p:cNvSpPr txBox="1"/>
          <p:nvPr/>
        </p:nvSpPr>
        <p:spPr>
          <a:xfrm>
            <a:off x="982902" y="2828835"/>
            <a:ext cx="2598475" cy="83099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Liquid Fuel Fission Th MSR (560</a:t>
            </a:r>
            <a:r>
              <a:rPr lang="en-US" sz="2400" baseline="30000" dirty="0">
                <a:solidFill>
                  <a:schemeClr val="bg1"/>
                </a:solidFill>
              </a:rPr>
              <a:t>0</a:t>
            </a:r>
            <a:r>
              <a:rPr lang="en-US" sz="2400" dirty="0">
                <a:solidFill>
                  <a:schemeClr val="bg1"/>
                </a:solidFill>
              </a:rPr>
              <a:t>C)</a:t>
            </a:r>
            <a:endParaRPr lang="en-FI" sz="2400" dirty="0">
              <a:solidFill>
                <a:schemeClr val="bg1"/>
              </a:solidFill>
            </a:endParaRPr>
          </a:p>
        </p:txBody>
      </p:sp>
      <p:sp>
        <p:nvSpPr>
          <p:cNvPr id="144" name="Isosceles Triangle 143">
            <a:extLst>
              <a:ext uri="{FF2B5EF4-FFF2-40B4-BE49-F238E27FC236}">
                <a16:creationId xmlns:a16="http://schemas.microsoft.com/office/drawing/2014/main" id="{07A0F897-6E80-A80D-3728-A5B226B24335}"/>
              </a:ext>
            </a:extLst>
          </p:cNvPr>
          <p:cNvSpPr/>
          <p:nvPr/>
        </p:nvSpPr>
        <p:spPr>
          <a:xfrm rot="10800000">
            <a:off x="6193998" y="4910255"/>
            <a:ext cx="153718" cy="159614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45" name="Isosceles Triangle 144">
            <a:extLst>
              <a:ext uri="{FF2B5EF4-FFF2-40B4-BE49-F238E27FC236}">
                <a16:creationId xmlns:a16="http://schemas.microsoft.com/office/drawing/2014/main" id="{102BD604-D216-200C-936D-126AF4700024}"/>
              </a:ext>
            </a:extLst>
          </p:cNvPr>
          <p:cNvSpPr/>
          <p:nvPr/>
        </p:nvSpPr>
        <p:spPr>
          <a:xfrm rot="10800000">
            <a:off x="5881114" y="4910256"/>
            <a:ext cx="153718" cy="159614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cxnSp>
        <p:nvCxnSpPr>
          <p:cNvPr id="146" name="Connector: Elbow 145">
            <a:extLst>
              <a:ext uri="{FF2B5EF4-FFF2-40B4-BE49-F238E27FC236}">
                <a16:creationId xmlns:a16="http://schemas.microsoft.com/office/drawing/2014/main" id="{9FAC2E1A-7701-A278-5C53-699FD187F803}"/>
              </a:ext>
            </a:extLst>
          </p:cNvPr>
          <p:cNvCxnSpPr>
            <a:cxnSpLocks/>
            <a:stCxn id="25" idx="2"/>
            <a:endCxn id="144" idx="0"/>
          </p:cNvCxnSpPr>
          <p:nvPr/>
        </p:nvCxnSpPr>
        <p:spPr>
          <a:xfrm rot="5400000">
            <a:off x="7632917" y="2297773"/>
            <a:ext cx="1410037" cy="4134155"/>
          </a:xfrm>
          <a:prstGeom prst="bentConnector3">
            <a:avLst>
              <a:gd name="adj1" fmla="val 116212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Connector: Elbow 148">
            <a:extLst>
              <a:ext uri="{FF2B5EF4-FFF2-40B4-BE49-F238E27FC236}">
                <a16:creationId xmlns:a16="http://schemas.microsoft.com/office/drawing/2014/main" id="{BECAD210-8592-97CE-07EB-CBC091AF7D9D}"/>
              </a:ext>
            </a:extLst>
          </p:cNvPr>
          <p:cNvCxnSpPr>
            <a:cxnSpLocks/>
            <a:stCxn id="94" idx="2"/>
            <a:endCxn id="145" idx="0"/>
          </p:cNvCxnSpPr>
          <p:nvPr/>
        </p:nvCxnSpPr>
        <p:spPr>
          <a:xfrm rot="16200000" flipH="1">
            <a:off x="3415037" y="2526934"/>
            <a:ext cx="1410038" cy="3675833"/>
          </a:xfrm>
          <a:prstGeom prst="bentConnector3">
            <a:avLst>
              <a:gd name="adj1" fmla="val 116212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7C5EDF6-D2CC-57F2-D018-73CEDFC94CAC}"/>
              </a:ext>
            </a:extLst>
          </p:cNvPr>
          <p:cNvCxnSpPr>
            <a:cxnSpLocks/>
            <a:stCxn id="25" idx="0"/>
            <a:endCxn id="28" idx="0"/>
          </p:cNvCxnSpPr>
          <p:nvPr/>
        </p:nvCxnSpPr>
        <p:spPr>
          <a:xfrm rot="16200000" flipV="1">
            <a:off x="9013689" y="1437511"/>
            <a:ext cx="161496" cy="2621151"/>
          </a:xfrm>
          <a:prstGeom prst="bentConnector3">
            <a:avLst>
              <a:gd name="adj1" fmla="val 241551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9DA3C356-9A4B-795C-08AA-37EFBC1F8670}"/>
              </a:ext>
            </a:extLst>
          </p:cNvPr>
          <p:cNvCxnSpPr>
            <a:cxnSpLocks/>
            <a:stCxn id="19" idx="3"/>
            <a:endCxn id="20" idx="3"/>
          </p:cNvCxnSpPr>
          <p:nvPr/>
        </p:nvCxnSpPr>
        <p:spPr>
          <a:xfrm flipV="1">
            <a:off x="6450336" y="3407577"/>
            <a:ext cx="1954208" cy="1528480"/>
          </a:xfrm>
          <a:prstGeom prst="bentConnector3">
            <a:avLst>
              <a:gd name="adj1" fmla="val 121934"/>
            </a:avLst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3">
            <a:extLst>
              <a:ext uri="{FF2B5EF4-FFF2-40B4-BE49-F238E27FC236}">
                <a16:creationId xmlns:a16="http://schemas.microsoft.com/office/drawing/2014/main" id="{060C2BDB-8E57-FA1D-E933-44109B965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0609" y="152907"/>
            <a:ext cx="5932763" cy="760119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rgbClr val="7030A0"/>
                </a:solidFill>
              </a:rPr>
              <a:t>The Purple Transition</a:t>
            </a:r>
            <a:endParaRPr lang="en-FI" sz="3600" dirty="0">
              <a:solidFill>
                <a:srgbClr val="7030A0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F9D8EAE-5E4C-9852-EFAF-11D1FA17668C}"/>
              </a:ext>
            </a:extLst>
          </p:cNvPr>
          <p:cNvGrpSpPr/>
          <p:nvPr/>
        </p:nvGrpSpPr>
        <p:grpSpPr>
          <a:xfrm>
            <a:off x="3604911" y="5136112"/>
            <a:ext cx="5010021" cy="1387203"/>
            <a:chOff x="3604911" y="5136112"/>
            <a:chExt cx="5010021" cy="1387203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CEC9910B-9C49-7B47-5305-0738EE07BDB5}"/>
                </a:ext>
              </a:extLst>
            </p:cNvPr>
            <p:cNvSpPr txBox="1"/>
            <p:nvPr/>
          </p:nvSpPr>
          <p:spPr>
            <a:xfrm>
              <a:off x="3604911" y="5692318"/>
              <a:ext cx="5010021" cy="830997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Combustion of iron oxide powder to produce high temperatures (1800</a:t>
              </a:r>
              <a:r>
                <a:rPr lang="en-US" sz="2400" baseline="30000" dirty="0">
                  <a:solidFill>
                    <a:schemeClr val="bg1"/>
                  </a:solidFill>
                </a:rPr>
                <a:t>0</a:t>
              </a:r>
              <a:r>
                <a:rPr lang="en-US" sz="2400" dirty="0">
                  <a:solidFill>
                    <a:schemeClr val="bg1"/>
                  </a:solidFill>
                </a:rPr>
                <a:t>C)</a:t>
              </a:r>
              <a:endParaRPr lang="en-FI" sz="2400" dirty="0">
                <a:solidFill>
                  <a:schemeClr val="bg1"/>
                </a:solidFill>
              </a:endParaRPr>
            </a:p>
          </p:txBody>
        </p: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DE0F12AC-134C-D971-A054-7DEDE2BA1BC2}"/>
                </a:ext>
              </a:extLst>
            </p:cNvPr>
            <p:cNvCxnSpPr>
              <a:cxnSpLocks/>
              <a:stCxn id="3" idx="0"/>
              <a:endCxn id="19" idx="2"/>
            </p:cNvCxnSpPr>
            <p:nvPr/>
          </p:nvCxnSpPr>
          <p:spPr>
            <a:xfrm flipV="1">
              <a:off x="6109922" y="5136112"/>
              <a:ext cx="1" cy="556206"/>
            </a:xfrm>
            <a:prstGeom prst="straightConnector1">
              <a:avLst/>
            </a:prstGeom>
            <a:ln w="19050">
              <a:solidFill>
                <a:srgbClr val="C0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38679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1">
            <a:extLst>
              <a:ext uri="{FF2B5EF4-FFF2-40B4-BE49-F238E27FC236}">
                <a16:creationId xmlns:a16="http://schemas.microsoft.com/office/drawing/2014/main" id="{FAD20C30-3E1F-7148-BCF9-ADAEDFF314F6}"/>
              </a:ext>
            </a:extLst>
          </p:cNvPr>
          <p:cNvSpPr txBox="1">
            <a:spLocks/>
          </p:cNvSpPr>
          <p:nvPr/>
        </p:nvSpPr>
        <p:spPr>
          <a:xfrm>
            <a:off x="390526" y="763909"/>
            <a:ext cx="4308696" cy="165544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66708" indent="-266708" algn="l" defTabSz="531828" rtl="0" eaLnBrk="1" latinLnBrk="0" hangingPunct="1">
              <a:lnSpc>
                <a:spcPts val="2400"/>
              </a:lnSpc>
              <a:spcBef>
                <a:spcPts val="1000"/>
              </a:spcBef>
              <a:buClr>
                <a:srgbClr val="3F7397"/>
              </a:buClr>
              <a:buSzPct val="90000"/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723920" indent="-192093" algn="l" defTabSz="914403" rtl="0" eaLnBrk="1" latinLnBrk="0" hangingPunct="1">
              <a:lnSpc>
                <a:spcPts val="2400"/>
              </a:lnSpc>
              <a:spcBef>
                <a:spcPts val="1000"/>
              </a:spcBef>
              <a:buClr>
                <a:srgbClr val="3F7397"/>
              </a:buClr>
              <a:buSzPct val="90000"/>
              <a:buFont typeface="Arial" panose="020B0604020202020204" pitchFamily="34" charset="0"/>
              <a:buChar char="•"/>
              <a:defRPr sz="2200" b="0" i="1" kern="1200">
                <a:solidFill>
                  <a:srgbClr val="636569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900139" indent="-176218" algn="l" defTabSz="914403" rtl="0" eaLnBrk="1" latinLnBrk="0" hangingPunct="1">
              <a:lnSpc>
                <a:spcPts val="2400"/>
              </a:lnSpc>
              <a:spcBef>
                <a:spcPts val="1000"/>
              </a:spcBef>
              <a:buClr>
                <a:srgbClr val="3F7397"/>
              </a:buClr>
              <a:buSzPct val="90000"/>
              <a:buFont typeface="Arial" panose="020B0604020202020204" pitchFamily="34" charset="0"/>
              <a:buChar char="•"/>
              <a:defRPr sz="2200" b="0" i="1" kern="1200">
                <a:solidFill>
                  <a:srgbClr val="636569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077943" indent="-185743" algn="l" defTabSz="914403" rtl="0" eaLnBrk="1" latinLnBrk="0" hangingPunct="1">
              <a:lnSpc>
                <a:spcPts val="2400"/>
              </a:lnSpc>
              <a:spcBef>
                <a:spcPts val="1000"/>
              </a:spcBef>
              <a:buClr>
                <a:srgbClr val="3F7397"/>
              </a:buClr>
              <a:buSzPct val="90000"/>
              <a:buFont typeface="Arial" panose="020B0604020202020204" pitchFamily="34" charset="0"/>
              <a:buChar char="•"/>
              <a:defRPr sz="2200" b="0" i="1" kern="1200">
                <a:solidFill>
                  <a:srgbClr val="636569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1255748" indent="-177805" algn="l" defTabSz="941414" rtl="0" eaLnBrk="1" latinLnBrk="0" hangingPunct="1">
              <a:lnSpc>
                <a:spcPts val="2400"/>
              </a:lnSpc>
              <a:spcBef>
                <a:spcPts val="1000"/>
              </a:spcBef>
              <a:buClr>
                <a:srgbClr val="3F7397"/>
              </a:buClr>
              <a:buSzPct val="90000"/>
              <a:buFont typeface="Arial" panose="020B0604020202020204" pitchFamily="34" charset="0"/>
              <a:buChar char="•"/>
              <a:tabLst/>
              <a:defRPr sz="2200" b="0" i="1" kern="1200">
                <a:solidFill>
                  <a:srgbClr val="636569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1433553" indent="-177805" algn="l" defTabSz="914403" rtl="0" eaLnBrk="1" latinLnBrk="0" hangingPunct="1">
              <a:lnSpc>
                <a:spcPct val="90000"/>
              </a:lnSpc>
              <a:spcBef>
                <a:spcPts val="500"/>
              </a:spcBef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09770" indent="-176218" algn="l" defTabSz="914403" rtl="0" eaLnBrk="1" latinLnBrk="0" hangingPunct="1">
              <a:lnSpc>
                <a:spcPct val="90000"/>
              </a:lnSpc>
              <a:spcBef>
                <a:spcPts val="500"/>
              </a:spcBef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87575" indent="-177805" algn="l" defTabSz="914403" rtl="0" eaLnBrk="1" latinLnBrk="0" hangingPunct="1">
              <a:lnSpc>
                <a:spcPct val="90000"/>
              </a:lnSpc>
              <a:spcBef>
                <a:spcPts val="500"/>
              </a:spcBef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787575" indent="0" algn="l" defTabSz="9144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800"/>
              </a:lnSpc>
              <a:spcBef>
                <a:spcPts val="400"/>
              </a:spcBef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mon P. Michaux</a:t>
            </a:r>
          </a:p>
          <a:p>
            <a:pPr marL="0" indent="0">
              <a:lnSpc>
                <a:spcPts val="1800"/>
              </a:lnSpc>
              <a:spcBef>
                <a:spcPts val="400"/>
              </a:spcBef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ociate Professor Geometallurgy</a:t>
            </a:r>
          </a:p>
          <a:p>
            <a:pPr marL="0" indent="0">
              <a:lnSpc>
                <a:spcPts val="1800"/>
              </a:lnSpc>
              <a:spcBef>
                <a:spcPts val="400"/>
              </a:spcBef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rcular Economy Solutions</a:t>
            </a:r>
          </a:p>
          <a:p>
            <a:pPr marL="0" indent="0">
              <a:lnSpc>
                <a:spcPts val="1800"/>
              </a:lnSpc>
              <a:spcBef>
                <a:spcPts val="400"/>
              </a:spcBef>
              <a:buNone/>
            </a:pPr>
            <a:r>
              <a:rPr lang="fr-FR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imon.michaux@gtk.fi 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ts val="1800"/>
              </a:lnSpc>
              <a:spcBef>
                <a:spcPts val="400"/>
              </a:spcBef>
            </a:pPr>
            <a:r>
              <a:rPr lang="fi-FI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tk.fi</a:t>
            </a:r>
          </a:p>
          <a:p>
            <a:pPr marL="0" indent="0">
              <a:lnSpc>
                <a:spcPts val="1800"/>
              </a:lnSpc>
              <a:spcBef>
                <a:spcPts val="400"/>
              </a:spcBef>
            </a:pPr>
            <a:endParaRPr lang="fi-FI" sz="16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Otsikko 3">
            <a:extLst>
              <a:ext uri="{FF2B5EF4-FFF2-40B4-BE49-F238E27FC236}">
                <a16:creationId xmlns:a16="http://schemas.microsoft.com/office/drawing/2014/main" id="{151E790B-EECE-1C3D-B9A8-C3C6B7DCD721}"/>
              </a:ext>
            </a:extLst>
          </p:cNvPr>
          <p:cNvSpPr txBox="1">
            <a:spLocks/>
          </p:cNvSpPr>
          <p:nvPr/>
        </p:nvSpPr>
        <p:spPr>
          <a:xfrm>
            <a:off x="533031" y="5044169"/>
            <a:ext cx="5029569" cy="74703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r" defTabSz="9144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1" b="1" i="0" kern="1200" cap="none">
                <a:solidFill>
                  <a:schemeClr val="bg1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Kiitos &amp; Thank you</a:t>
            </a:r>
          </a:p>
        </p:txBody>
      </p:sp>
    </p:spTree>
    <p:extLst>
      <p:ext uri="{BB962C8B-B14F-4D97-AF65-F5344CB8AC3E}">
        <p14:creationId xmlns:p14="http://schemas.microsoft.com/office/powerpoint/2010/main" val="2891892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888F2EF-33ED-81C1-F669-80FBA5020E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838" y="-2966032"/>
            <a:ext cx="9665762" cy="13430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242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7.40741E-7 L -0.00013 0.45324 " pathEditMode="relative" rAng="0" ptsTypes="AA">
                                      <p:cBhvr>
                                        <p:cTn id="6" dur="3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22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3 0.45324 L 0.00039 -0.54676 " pathEditMode="relative" rAng="0" ptsTypes="AA">
                                      <p:cBhvr>
                                        <p:cTn id="10" dur="3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5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36E7AC-BE5A-3245-BB92-222E2A6C3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2373" y="516888"/>
            <a:ext cx="8947606" cy="1026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513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2.59259E-6 L -0.0004 -0.60578 " pathEditMode="relative" rAng="0" ptsTypes="AA">
                                      <p:cBhvr>
                                        <p:cTn id="6" dur="3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3030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4E48EB8-29FF-6D9D-F813-0D4B8AAAD7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2073" y="1044812"/>
            <a:ext cx="5556117" cy="549314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B78D87A-77E2-7B25-67CF-029F5FF95EC9}"/>
              </a:ext>
            </a:extLst>
          </p:cNvPr>
          <p:cNvSpPr txBox="1"/>
          <p:nvPr/>
        </p:nvSpPr>
        <p:spPr>
          <a:xfrm>
            <a:off x="1048663" y="463374"/>
            <a:ext cx="487428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FI" sz="1400" dirty="0"/>
              <a:t>Table 43. Total metal quantity required to phase out fossil fuels, by different buffer for stationary power storage capacity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212876B-9EFA-F4D3-1170-A90AF0C1721A}"/>
              </a:ext>
            </a:extLst>
          </p:cNvPr>
          <p:cNvSpPr txBox="1">
            <a:spLocks/>
          </p:cNvSpPr>
          <p:nvPr/>
        </p:nvSpPr>
        <p:spPr>
          <a:xfrm>
            <a:off x="6571882" y="724983"/>
            <a:ext cx="5504098" cy="5864595"/>
          </a:xfrm>
          <a:prstGeom prst="rect">
            <a:avLst/>
          </a:prstGeom>
        </p:spPr>
        <p:txBody>
          <a:bodyPr/>
          <a:lstStyle>
            <a:lvl1pPr marL="266708" indent="-266708" algn="l" defTabSz="531828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F7397"/>
              </a:buClr>
              <a:buSzPct val="90000"/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723920" indent="-192093" algn="l" defTabSz="91440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F7397"/>
              </a:buClr>
              <a:buSzPct val="90000"/>
              <a:buFont typeface="Arial" panose="020B0604020202020204" pitchFamily="34" charset="0"/>
              <a:buChar char="•"/>
              <a:defRPr sz="2200" b="0" i="1" kern="1200">
                <a:solidFill>
                  <a:srgbClr val="636569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  <a:lvl3pPr marL="900139" indent="-176218" algn="l" defTabSz="91440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F7397"/>
              </a:buClr>
              <a:buSzPct val="90000"/>
              <a:buFont typeface="Arial" panose="020B0604020202020204" pitchFamily="34" charset="0"/>
              <a:buChar char="•"/>
              <a:defRPr sz="2200" b="0" i="1" kern="1200">
                <a:solidFill>
                  <a:srgbClr val="636569"/>
                </a:solidFill>
                <a:latin typeface="+mn-lt"/>
                <a:ea typeface="+mn-ea"/>
                <a:cs typeface="Calibri" panose="020F0502020204030204" pitchFamily="34" charset="0"/>
              </a:defRPr>
            </a:lvl3pPr>
            <a:lvl4pPr marL="1077943" indent="-185743" algn="l" defTabSz="91440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F7397"/>
              </a:buClr>
              <a:buSzPct val="90000"/>
              <a:buFont typeface="Arial" panose="020B0604020202020204" pitchFamily="34" charset="0"/>
              <a:buChar char="•"/>
              <a:defRPr sz="2200" b="0" i="1" kern="1200">
                <a:solidFill>
                  <a:srgbClr val="636569"/>
                </a:solidFill>
                <a:latin typeface="+mn-lt"/>
                <a:ea typeface="+mn-ea"/>
                <a:cs typeface="Calibri" panose="020F0502020204030204" pitchFamily="34" charset="0"/>
              </a:defRPr>
            </a:lvl4pPr>
            <a:lvl5pPr marL="1255748" indent="-177805" algn="l" defTabSz="941414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F7397"/>
              </a:buClr>
              <a:buSzPct val="90000"/>
              <a:buFont typeface="Arial" panose="020B0604020202020204" pitchFamily="34" charset="0"/>
              <a:buChar char="•"/>
              <a:tabLst/>
              <a:defRPr sz="2200" b="0" i="1" kern="1200">
                <a:solidFill>
                  <a:srgbClr val="636569"/>
                </a:solidFill>
                <a:latin typeface="+mn-lt"/>
                <a:ea typeface="+mn-ea"/>
                <a:cs typeface="Calibri" panose="020F0502020204030204" pitchFamily="34" charset="0"/>
              </a:defRPr>
            </a:lvl5pPr>
            <a:lvl6pPr marL="1433553" indent="-177805" algn="l" defTabSz="914403" rtl="0" eaLnBrk="1" latinLnBrk="0" hangingPunct="1">
              <a:lnSpc>
                <a:spcPct val="90000"/>
              </a:lnSpc>
              <a:spcBef>
                <a:spcPts val="500"/>
              </a:spcBef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609770" indent="-176218" algn="l" defTabSz="914403" rtl="0" eaLnBrk="1" latinLnBrk="0" hangingPunct="1">
              <a:lnSpc>
                <a:spcPct val="90000"/>
              </a:lnSpc>
              <a:spcBef>
                <a:spcPts val="500"/>
              </a:spcBef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787575" indent="-177805" algn="l" defTabSz="914403" rtl="0" eaLnBrk="1" latinLnBrk="0" hangingPunct="1">
              <a:lnSpc>
                <a:spcPct val="90000"/>
              </a:lnSpc>
              <a:spcBef>
                <a:spcPts val="500"/>
              </a:spcBef>
              <a:buSzPct val="90000"/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787575" indent="0" algn="l" defTabSz="91440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6 hours			(Larson et al 2021)</a:t>
            </a:r>
          </a:p>
          <a:p>
            <a:pPr marL="0" indent="0">
              <a:buNone/>
            </a:pPr>
            <a:r>
              <a:rPr lang="en-US" sz="1200" dirty="0"/>
              <a:t>Larson, E., Greig, C., Jenkins, J., Mayfield, E., Pascale, A., Zhang, C., </a:t>
            </a:r>
            <a:r>
              <a:rPr lang="en-US" sz="1200" dirty="0" err="1"/>
              <a:t>Drossman</a:t>
            </a:r>
            <a:r>
              <a:rPr lang="en-US" sz="1200" dirty="0"/>
              <a:t>, J. Williams, R., </a:t>
            </a:r>
            <a:r>
              <a:rPr lang="en-US" sz="1200" dirty="0" err="1"/>
              <a:t>Pacala</a:t>
            </a:r>
            <a:r>
              <a:rPr lang="en-US" sz="1200" dirty="0"/>
              <a:t>, S., Socolow, R., </a:t>
            </a:r>
            <a:r>
              <a:rPr lang="en-US" sz="1200" dirty="0" err="1"/>
              <a:t>Baik</a:t>
            </a:r>
            <a:r>
              <a:rPr lang="en-US" sz="1200" dirty="0"/>
              <a:t>, E.J., </a:t>
            </a:r>
            <a:r>
              <a:rPr lang="en-US" sz="1200" dirty="0" err="1"/>
              <a:t>Birdsey</a:t>
            </a:r>
            <a:r>
              <a:rPr lang="en-US" sz="1200" dirty="0"/>
              <a:t>, R., Duke, R., Jones, R., Haley, B., Leslie, E., </a:t>
            </a:r>
            <a:r>
              <a:rPr lang="en-US" sz="1200" dirty="0" err="1"/>
              <a:t>Paustian</a:t>
            </a:r>
            <a:r>
              <a:rPr lang="en-US" sz="1200" dirty="0"/>
              <a:t>, K., and Swan, A., (2021): Net Zero America: Potential Pathways, Infrastructure, and Impacts, Final Report Summary, Princeton University, Princeton, NJ, 29 October 2021, </a:t>
            </a:r>
            <a:r>
              <a:rPr lang="en-US" sz="1200" dirty="0">
                <a:hlinkClick r:id="rId3"/>
              </a:rPr>
              <a:t>https://netzeroamerica.princeton.edu/?explorer=pathway&amp;state=national&amp;table=e-positive&amp;limit=200</a:t>
            </a:r>
            <a:r>
              <a:rPr lang="en-US" sz="1200" dirty="0"/>
              <a:t> </a:t>
            </a:r>
          </a:p>
          <a:p>
            <a:pPr marL="0" indent="0">
              <a:buNone/>
            </a:pPr>
            <a:endParaRPr lang="en-US" sz="1200" dirty="0"/>
          </a:p>
          <a:p>
            <a:r>
              <a:rPr lang="en-US" sz="2000" dirty="0"/>
              <a:t>48 hours +10% 	(Steinke et al 2012)</a:t>
            </a:r>
          </a:p>
          <a:p>
            <a:pPr marL="0" indent="0">
              <a:buNone/>
            </a:pPr>
            <a:r>
              <a:rPr lang="en-US" sz="1200" dirty="0"/>
              <a:t>Steinke F., </a:t>
            </a:r>
            <a:r>
              <a:rPr lang="en-US" sz="1200" dirty="0" err="1"/>
              <a:t>Wolfrum</a:t>
            </a:r>
            <a:r>
              <a:rPr lang="en-US" sz="1200" dirty="0"/>
              <a:t> Ph., and Hoffmann C. (2012): Grid vs. storage in a 100 % renewable Europe. Renewable Energy, 50 (2013), 826-832</a:t>
            </a:r>
          </a:p>
          <a:p>
            <a:pPr marL="0" indent="0">
              <a:buNone/>
            </a:pPr>
            <a:endParaRPr lang="en-US" sz="1200" dirty="0"/>
          </a:p>
          <a:p>
            <a:r>
              <a:rPr lang="en-US" sz="2000" dirty="0"/>
              <a:t>28 days			(</a:t>
            </a:r>
            <a:r>
              <a:rPr lang="en-US" sz="2000" dirty="0" err="1"/>
              <a:t>Droste</a:t>
            </a:r>
            <a:r>
              <a:rPr lang="en-US" sz="2000" dirty="0"/>
              <a:t>-Franke 2015)</a:t>
            </a:r>
          </a:p>
          <a:p>
            <a:pPr marL="0" indent="0">
              <a:buNone/>
            </a:pPr>
            <a:r>
              <a:rPr lang="en-US" sz="1200" dirty="0" err="1"/>
              <a:t>Droste</a:t>
            </a:r>
            <a:r>
              <a:rPr lang="en-US" sz="1200" dirty="0"/>
              <a:t>-Franke, B. (2015): Review of the need for storage capacity depending on the share of renewable energies (Chap. 6). In Electrochemical energy storage for renewable sources and grid balancing. Netherlands: Elsevier</a:t>
            </a:r>
          </a:p>
          <a:p>
            <a:pPr marL="0" indent="0">
              <a:buNone/>
            </a:pPr>
            <a:endParaRPr lang="en-US" sz="1200" dirty="0"/>
          </a:p>
          <a:p>
            <a:r>
              <a:rPr lang="en-US" sz="2000" dirty="0"/>
              <a:t>12 weeks		(</a:t>
            </a:r>
            <a:r>
              <a:rPr lang="en-US" sz="2000" dirty="0" err="1"/>
              <a:t>Ruhnau</a:t>
            </a:r>
            <a:r>
              <a:rPr lang="en-US" sz="2000" dirty="0"/>
              <a:t> &amp; </a:t>
            </a:r>
            <a:r>
              <a:rPr lang="en-US" sz="2000" dirty="0" err="1"/>
              <a:t>Qvist</a:t>
            </a:r>
            <a:r>
              <a:rPr lang="en-US" sz="2000" dirty="0"/>
              <a:t> 2021)</a:t>
            </a:r>
          </a:p>
          <a:p>
            <a:pPr marL="0" indent="0">
              <a:buNone/>
            </a:pPr>
            <a:r>
              <a:rPr lang="en-US" sz="1200" dirty="0" err="1"/>
              <a:t>Ruhnau</a:t>
            </a:r>
            <a:r>
              <a:rPr lang="en-US" sz="1200" dirty="0"/>
              <a:t>, O., and </a:t>
            </a:r>
            <a:r>
              <a:rPr lang="en-US" sz="1200" dirty="0" err="1"/>
              <a:t>Qvist</a:t>
            </a:r>
            <a:r>
              <a:rPr lang="en-US" sz="1200" dirty="0"/>
              <a:t>, S., (2021): Storage requirements in a 100% renewable electricity system: Extreme events and inter-annual variability, ZBW – Leibniz Information Centre for Economics, Kiel, Hamburg, </a:t>
            </a:r>
            <a:r>
              <a:rPr lang="en-US" sz="1200" dirty="0">
                <a:hlinkClick r:id="rId4"/>
              </a:rPr>
              <a:t>https://www.econstor.eu/bitstream/10419/236723/1/Ruhnau-and-Qvist-2021-Storage-requirements-in-a-100-renewable-electricity-system-EconStor.pdf</a:t>
            </a:r>
            <a:r>
              <a:rPr lang="en-US" sz="1200" dirty="0"/>
              <a:t> </a:t>
            </a:r>
            <a:endParaRPr lang="en-FI" sz="1200" dirty="0"/>
          </a:p>
        </p:txBody>
      </p:sp>
    </p:spTree>
    <p:extLst>
      <p:ext uri="{BB962C8B-B14F-4D97-AF65-F5344CB8AC3E}">
        <p14:creationId xmlns:p14="http://schemas.microsoft.com/office/powerpoint/2010/main" val="51165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5FDFEC9-7CED-78F7-BAED-111EFEC8D4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0582" y="1035404"/>
            <a:ext cx="7798118" cy="5366447"/>
          </a:xfrm>
          <a:prstGeom prst="rect">
            <a:avLst/>
          </a:prstGeom>
        </p:spPr>
      </p:pic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94340469-6761-1E58-2B54-18ACB5848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94340469-6761-1E58-2B54-18ACB5848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3550C2-FF46-430F-8BCA-671661054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365126"/>
            <a:ext cx="4732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377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753730-CA77-CA4E-8879-34FB69C671E1}" type="slidenum">
              <a:rPr lang="fi-FI" smtClean="0"/>
              <a:pPr/>
              <a:t>6</a:t>
            </a:fld>
            <a:endParaRPr lang="fi-FI"/>
          </a:p>
        </p:txBody>
      </p:sp>
      <p:grpSp>
        <p:nvGrpSpPr>
          <p:cNvPr id="9" name="Ryhmä 8">
            <a:extLst>
              <a:ext uri="{FF2B5EF4-FFF2-40B4-BE49-F238E27FC236}">
                <a16:creationId xmlns:a16="http://schemas.microsoft.com/office/drawing/2014/main" id="{AA9FA1F1-2775-CB79-F4FE-B350F8297006}"/>
              </a:ext>
            </a:extLst>
          </p:cNvPr>
          <p:cNvGrpSpPr/>
          <p:nvPr/>
        </p:nvGrpSpPr>
        <p:grpSpPr>
          <a:xfrm>
            <a:off x="179277" y="1109313"/>
            <a:ext cx="6783226" cy="2155511"/>
            <a:chOff x="388114" y="4212796"/>
            <a:chExt cx="7331866" cy="2155511"/>
          </a:xfrm>
        </p:grpSpPr>
        <p:sp>
          <p:nvSpPr>
            <p:cNvPr id="2" name="Suorakulmio 1">
              <a:extLst>
                <a:ext uri="{FF2B5EF4-FFF2-40B4-BE49-F238E27FC236}">
                  <a16:creationId xmlns:a16="http://schemas.microsoft.com/office/drawing/2014/main" id="{EAC5FB88-404B-B376-3B6C-15CA634721E8}"/>
                </a:ext>
              </a:extLst>
            </p:cNvPr>
            <p:cNvSpPr/>
            <p:nvPr/>
          </p:nvSpPr>
          <p:spPr>
            <a:xfrm>
              <a:off x="388114" y="4212796"/>
              <a:ext cx="109728" cy="215551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  <p:grpSp>
          <p:nvGrpSpPr>
            <p:cNvPr id="38" name="Ryhmä 37">
              <a:extLst>
                <a:ext uri="{FF2B5EF4-FFF2-40B4-BE49-F238E27FC236}">
                  <a16:creationId xmlns:a16="http://schemas.microsoft.com/office/drawing/2014/main" id="{A06A976F-1227-0F40-8987-474BDA46816F}"/>
                </a:ext>
              </a:extLst>
            </p:cNvPr>
            <p:cNvGrpSpPr/>
            <p:nvPr/>
          </p:nvGrpSpPr>
          <p:grpSpPr>
            <a:xfrm>
              <a:off x="442913" y="4233914"/>
              <a:ext cx="7277067" cy="2108269"/>
              <a:chOff x="442913" y="4233914"/>
              <a:chExt cx="7277067" cy="2108269"/>
            </a:xfrm>
          </p:grpSpPr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6E47C1E-D05E-4354-93A1-F2C168C5CD81}"/>
                  </a:ext>
                </a:extLst>
              </p:cNvPr>
              <p:cNvSpPr txBox="1"/>
              <p:nvPr/>
            </p:nvSpPr>
            <p:spPr>
              <a:xfrm>
                <a:off x="442913" y="4233914"/>
                <a:ext cx="2455290" cy="2108269"/>
              </a:xfrm>
              <a:prstGeom prst="rect">
                <a:avLst/>
              </a:prstGeom>
              <a:solidFill>
                <a:srgbClr val="C00000"/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600"/>
                  </a:spcBef>
                </a:pPr>
                <a:r>
                  <a:rPr lang="en-US" dirty="0">
                    <a:solidFill>
                      <a:schemeClr val="bg1"/>
                    </a:solidFill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a:rPr>
                  <a:t>Remember, </a:t>
                </a:r>
                <a:br>
                  <a:rPr lang="en-US" dirty="0">
                    <a:solidFill>
                      <a:schemeClr val="bg1"/>
                    </a:solidFill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a:rPr>
                </a:br>
                <a:r>
                  <a:rPr lang="en-US" dirty="0">
                    <a:solidFill>
                      <a:schemeClr val="bg1"/>
                    </a:solidFill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a:rPr>
                  <a:t>this is for just the first generation of units. </a:t>
                </a:r>
              </a:p>
              <a:p>
                <a:pPr>
                  <a:spcBef>
                    <a:spcPts val="600"/>
                  </a:spcBef>
                </a:pPr>
                <a:r>
                  <a:rPr lang="en-US" dirty="0">
                    <a:solidFill>
                      <a:schemeClr val="bg1"/>
                    </a:solidFill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a:rPr>
                  <a:t>They will wear out in </a:t>
                </a:r>
                <a:r>
                  <a:rPr lang="en-US" b="1" dirty="0">
                    <a:solidFill>
                      <a:schemeClr val="bg1"/>
                    </a:solidFill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a:rPr>
                  <a:t>10 to 25 years</a:t>
                </a:r>
                <a:r>
                  <a:rPr lang="en-US" dirty="0">
                    <a:solidFill>
                      <a:schemeClr val="bg1"/>
                    </a:solidFill>
                    <a:effectLst>
                      <a:outerShdw blurRad="50800" dist="38100" dir="8100000" algn="tr" rotWithShape="0">
                        <a:prstClr val="black">
                          <a:alpha val="40000"/>
                        </a:prstClr>
                      </a:outerShdw>
                    </a:effectLst>
                  </a:rPr>
                  <a:t>, after which they will need to be replaced </a:t>
                </a:r>
                <a:endParaRPr lang="en-FI" dirty="0">
                  <a:solidFill>
                    <a:schemeClr val="bg1"/>
                  </a:solidFill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  <p:cxnSp>
            <p:nvCxnSpPr>
              <p:cNvPr id="7" name="Straight Arrow Connector 6">
                <a:extLst>
                  <a:ext uri="{FF2B5EF4-FFF2-40B4-BE49-F238E27FC236}">
                    <a16:creationId xmlns:a16="http://schemas.microsoft.com/office/drawing/2014/main" id="{002E8936-8D3C-427C-A783-7A31D7BD6264}"/>
                  </a:ext>
                </a:extLst>
              </p:cNvPr>
              <p:cNvCxnSpPr>
                <a:cxnSpLocks/>
                <a:stCxn id="5" idx="3"/>
              </p:cNvCxnSpPr>
              <p:nvPr/>
            </p:nvCxnSpPr>
            <p:spPr>
              <a:xfrm>
                <a:off x="2898203" y="5288049"/>
                <a:ext cx="4821777" cy="584760"/>
              </a:xfrm>
              <a:prstGeom prst="straightConnector1">
                <a:avLst/>
              </a:prstGeom>
              <a:ln w="28575">
                <a:solidFill>
                  <a:schemeClr val="tx2"/>
                </a:solidFill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Arrow Connector 7">
                <a:extLst>
                  <a:ext uri="{FF2B5EF4-FFF2-40B4-BE49-F238E27FC236}">
                    <a16:creationId xmlns:a16="http://schemas.microsoft.com/office/drawing/2014/main" id="{B59DDBF0-4087-44AE-BEBF-1864D1EDAC5B}"/>
                  </a:ext>
                </a:extLst>
              </p:cNvPr>
              <p:cNvCxnSpPr>
                <a:cxnSpLocks/>
                <a:stCxn id="5" idx="3"/>
              </p:cNvCxnSpPr>
              <p:nvPr/>
            </p:nvCxnSpPr>
            <p:spPr>
              <a:xfrm flipV="1">
                <a:off x="2898203" y="4866969"/>
                <a:ext cx="4821777" cy="421080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6" name="Title 4">
            <a:extLst>
              <a:ext uri="{FF2B5EF4-FFF2-40B4-BE49-F238E27FC236}">
                <a16:creationId xmlns:a16="http://schemas.microsoft.com/office/drawing/2014/main" id="{563E3229-AAC8-60CC-5372-51C60B893773}"/>
              </a:ext>
            </a:extLst>
          </p:cNvPr>
          <p:cNvSpPr txBox="1">
            <a:spLocks/>
          </p:cNvSpPr>
          <p:nvPr/>
        </p:nvSpPr>
        <p:spPr>
          <a:xfrm>
            <a:off x="695993" y="253061"/>
            <a:ext cx="10381309" cy="782343"/>
          </a:xfrm>
          <a:prstGeom prst="rect">
            <a:avLst/>
          </a:prstGeom>
        </p:spPr>
        <p:txBody>
          <a:bodyPr vert="horz"/>
          <a:lstStyle>
            <a:lvl1pPr algn="l" defTabSz="9144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cap="none">
                <a:solidFill>
                  <a:schemeClr val="bg2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dirty="0"/>
              <a:t>Mining production in 2019 (the last year of sensible data)</a:t>
            </a:r>
            <a:endParaRPr lang="en-FI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05B7FCD-12F9-EFC7-893F-A9711EFFD976}"/>
              </a:ext>
            </a:extLst>
          </p:cNvPr>
          <p:cNvSpPr txBox="1"/>
          <p:nvPr/>
        </p:nvSpPr>
        <p:spPr>
          <a:xfrm>
            <a:off x="5584806" y="6417231"/>
            <a:ext cx="20696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USGS Mineral Statistics 2023)</a:t>
            </a:r>
            <a:endParaRPr lang="en-FI" sz="1200" dirty="0"/>
          </a:p>
        </p:txBody>
      </p:sp>
    </p:spTree>
    <p:extLst>
      <p:ext uri="{BB962C8B-B14F-4D97-AF65-F5344CB8AC3E}">
        <p14:creationId xmlns:p14="http://schemas.microsoft.com/office/powerpoint/2010/main" val="3725621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E3308E8-EEC9-F4B4-F31A-355DCDC016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9874" y="1283825"/>
            <a:ext cx="6380636" cy="4875311"/>
          </a:xfrm>
          <a:prstGeom prst="rect">
            <a:avLst/>
          </a:prstGeom>
        </p:spPr>
      </p:pic>
      <p:sp>
        <p:nvSpPr>
          <p:cNvPr id="3" name="Title 4">
            <a:extLst>
              <a:ext uri="{FF2B5EF4-FFF2-40B4-BE49-F238E27FC236}">
                <a16:creationId xmlns:a16="http://schemas.microsoft.com/office/drawing/2014/main" id="{E055B304-1EB1-2992-D777-DE2D2E7E2791}"/>
              </a:ext>
            </a:extLst>
          </p:cNvPr>
          <p:cNvSpPr txBox="1">
            <a:spLocks/>
          </p:cNvSpPr>
          <p:nvPr/>
        </p:nvSpPr>
        <p:spPr>
          <a:xfrm>
            <a:off x="695994" y="253061"/>
            <a:ext cx="9216720" cy="782343"/>
          </a:xfrm>
          <a:prstGeom prst="rect">
            <a:avLst/>
          </a:prstGeom>
        </p:spPr>
        <p:txBody>
          <a:bodyPr vert="horz"/>
          <a:lstStyle>
            <a:lvl1pPr algn="l" defTabSz="91440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cap="none">
                <a:solidFill>
                  <a:schemeClr val="bg2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pPr algn="ctr"/>
            <a:r>
              <a:rPr lang="en-US" dirty="0"/>
              <a:t>Reported Mineral Reserves + Estimated Resources + Undersea Resources</a:t>
            </a:r>
            <a:endParaRPr lang="en-FI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3F12EF-2870-F8A5-2167-BF140246A984}"/>
              </a:ext>
            </a:extLst>
          </p:cNvPr>
          <p:cNvSpPr txBox="1"/>
          <p:nvPr/>
        </p:nvSpPr>
        <p:spPr>
          <a:xfrm>
            <a:off x="4200144" y="6340638"/>
            <a:ext cx="31268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USGS Mineral Statistics 2023, Hein </a:t>
            </a:r>
            <a:r>
              <a:rPr lang="en-US" sz="1200" i="1" dirty="0"/>
              <a:t>et al. </a:t>
            </a:r>
            <a:r>
              <a:rPr lang="en-US" sz="1200" dirty="0"/>
              <a:t>2020)</a:t>
            </a:r>
            <a:endParaRPr lang="en-FI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EE88C9-82F1-66A3-63D2-D4B343B5C9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2431" y="1283825"/>
            <a:ext cx="7112275" cy="4875311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7D39839C-44E3-E0FF-7B81-3660B21D30DD}"/>
              </a:ext>
            </a:extLst>
          </p:cNvPr>
          <p:cNvGrpSpPr/>
          <p:nvPr/>
        </p:nvGrpSpPr>
        <p:grpSpPr>
          <a:xfrm>
            <a:off x="3037294" y="5834385"/>
            <a:ext cx="6007846" cy="277002"/>
            <a:chOff x="3037294" y="5834385"/>
            <a:chExt cx="6007846" cy="27700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3DD3F85-0FC0-3B73-0E77-BBD099F4C71F}"/>
                </a:ext>
              </a:extLst>
            </p:cNvPr>
            <p:cNvSpPr txBox="1"/>
            <p:nvPr/>
          </p:nvSpPr>
          <p:spPr>
            <a:xfrm>
              <a:off x="3037294" y="5834388"/>
              <a:ext cx="63831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Copper</a:t>
              </a:r>
              <a:endParaRPr lang="en-FI" sz="1200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AB3DBE0-D7CA-2007-B3C8-7FE3413B1B09}"/>
                </a:ext>
              </a:extLst>
            </p:cNvPr>
            <p:cNvSpPr txBox="1"/>
            <p:nvPr/>
          </p:nvSpPr>
          <p:spPr>
            <a:xfrm>
              <a:off x="4418516" y="5834387"/>
              <a:ext cx="56284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Nickel</a:t>
              </a:r>
              <a:endParaRPr lang="en-FI" sz="1200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CDFBF68-DFE2-9BD0-D846-72060B2E248C}"/>
                </a:ext>
              </a:extLst>
            </p:cNvPr>
            <p:cNvSpPr txBox="1"/>
            <p:nvPr/>
          </p:nvSpPr>
          <p:spPr>
            <a:xfrm>
              <a:off x="7032650" y="5834388"/>
              <a:ext cx="58862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Cobalt</a:t>
              </a:r>
              <a:endParaRPr lang="en-FI" sz="1200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0048C80-E766-698B-CEB8-B7F3EAF453F2}"/>
                </a:ext>
              </a:extLst>
            </p:cNvPr>
            <p:cNvSpPr txBox="1"/>
            <p:nvPr/>
          </p:nvSpPr>
          <p:spPr>
            <a:xfrm>
              <a:off x="5717186" y="5834386"/>
              <a:ext cx="65434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Lithium</a:t>
              </a:r>
              <a:endParaRPr lang="en-FI" sz="1200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CCE2832-011D-50B4-626A-F9F6FD282E7B}"/>
                </a:ext>
              </a:extLst>
            </p:cNvPr>
            <p:cNvSpPr txBox="1"/>
            <p:nvPr/>
          </p:nvSpPr>
          <p:spPr>
            <a:xfrm>
              <a:off x="8235879" y="5834385"/>
              <a:ext cx="8092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Vanadium</a:t>
              </a:r>
              <a:endParaRPr lang="en-FI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38127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C589127-3A7E-3542-003C-E6CDF63CDA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46E7BC-8DB4-4B51-9586-C73E821BDB0A}" type="datetime1">
              <a:rPr lang="fi-FI" noProof="0" smtClean="0"/>
              <a:t>18.12.2023</a:t>
            </a:fld>
            <a:endParaRPr lang="fi-FI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2C5BB6-68A9-AE39-42E6-E8EAF3D92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6437E-D3FF-48BE-9DB0-E927655FE322}" type="slidenum">
              <a:rPr lang="fi-FI" noProof="0" smtClean="0"/>
              <a:pPr/>
              <a:t>8</a:t>
            </a:fld>
            <a:endParaRPr lang="fi-FI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87B772B-FA20-8560-E0BD-B3419BBB1A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969" y="184499"/>
            <a:ext cx="9216720" cy="782343"/>
          </a:xfrm>
        </p:spPr>
        <p:txBody>
          <a:bodyPr/>
          <a:lstStyle/>
          <a:p>
            <a:r>
              <a:rPr lang="en-US" dirty="0"/>
              <a:t>Make batteries out of something else</a:t>
            </a:r>
            <a:endParaRPr lang="en-FI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10F45A-1170-0380-DCA9-51F861B56A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577" y="1284173"/>
            <a:ext cx="6200547" cy="492075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CAF4DDE-2B31-1A66-364E-A87F6A0EAB7A}"/>
              </a:ext>
            </a:extLst>
          </p:cNvPr>
          <p:cNvSpPr txBox="1"/>
          <p:nvPr/>
        </p:nvSpPr>
        <p:spPr>
          <a:xfrm>
            <a:off x="7655120" y="1284173"/>
            <a:ext cx="170139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Zin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Fluor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odi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Magnesium</a:t>
            </a:r>
            <a:endParaRPr lang="en-FI" sz="2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861A50-9A01-5A3B-B16F-BF77F7387646}"/>
              </a:ext>
            </a:extLst>
          </p:cNvPr>
          <p:cNvSpPr txBox="1"/>
          <p:nvPr/>
        </p:nvSpPr>
        <p:spPr>
          <a:xfrm>
            <a:off x="7655120" y="2924943"/>
            <a:ext cx="364130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Most of these things can be found in industrial waste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The valuable part becomes processing and refining into something useful</a:t>
            </a:r>
            <a:endParaRPr lang="en-FI" sz="2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09DB0A-6124-AD6C-70F5-1A5B9B229B06}"/>
              </a:ext>
            </a:extLst>
          </p:cNvPr>
          <p:cNvSpPr txBox="1"/>
          <p:nvPr/>
        </p:nvSpPr>
        <p:spPr>
          <a:xfrm>
            <a:off x="8395750" y="5591929"/>
            <a:ext cx="3139025" cy="40011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2000" dirty="0"/>
              <a:t>A Circular Economy act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530684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5E2F3A-E949-EBFF-0D04-9B5C33880F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ADD559-D8B0-D33E-4441-9139F2BFF0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46437E-D3FF-48BE-9DB0-E927655FE322}" type="slidenum">
              <a:rPr lang="fi-FI" noProof="0" smtClean="0"/>
              <a:pPr/>
              <a:t>9</a:t>
            </a:fld>
            <a:endParaRPr lang="fi-FI" noProof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5919871-1ABB-A25E-AC2D-BEDCFA5C8FFE}"/>
              </a:ext>
            </a:extLst>
          </p:cNvPr>
          <p:cNvGrpSpPr/>
          <p:nvPr/>
        </p:nvGrpSpPr>
        <p:grpSpPr>
          <a:xfrm>
            <a:off x="4606187" y="3783294"/>
            <a:ext cx="4031934" cy="2767898"/>
            <a:chOff x="6859347" y="3845453"/>
            <a:chExt cx="4031934" cy="276789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80BF00A-C2F9-0855-0EF8-6BC71C2898F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74406" y="3845453"/>
              <a:ext cx="3254042" cy="2169362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E17D735-2B34-4E37-D19E-6F91756E0D4C}"/>
                </a:ext>
              </a:extLst>
            </p:cNvPr>
            <p:cNvSpPr txBox="1"/>
            <p:nvPr/>
          </p:nvSpPr>
          <p:spPr>
            <a:xfrm>
              <a:off x="6859347" y="6028576"/>
              <a:ext cx="403193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dirty="0"/>
                <a:t>The LFTR (2 MW) used in Circa </a:t>
              </a:r>
              <a:r>
                <a:rPr lang="en-US" sz="1600" dirty="0" err="1"/>
                <a:t>Whuhai</a:t>
              </a:r>
              <a:r>
                <a:rPr lang="en-US" sz="1600" dirty="0"/>
                <a:t>, China in 2022 – now commercially selling power</a:t>
              </a:r>
              <a:endParaRPr lang="en-FI" sz="1600" dirty="0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79A66A8D-72B8-428E-75F2-1D99660331F9}"/>
              </a:ext>
            </a:extLst>
          </p:cNvPr>
          <p:cNvSpPr txBox="1"/>
          <p:nvPr/>
        </p:nvSpPr>
        <p:spPr>
          <a:xfrm>
            <a:off x="5246740" y="454609"/>
            <a:ext cx="3223959" cy="3693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6000 hours power generation</a:t>
            </a:r>
            <a:endParaRPr lang="en-FI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8089B1-276D-EC0A-D38D-C84D2BAA7630}"/>
              </a:ext>
            </a:extLst>
          </p:cNvPr>
          <p:cNvSpPr txBox="1"/>
          <p:nvPr/>
        </p:nvSpPr>
        <p:spPr>
          <a:xfrm>
            <a:off x="5725908" y="3547153"/>
            <a:ext cx="2244717" cy="3693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lready done in China</a:t>
            </a:r>
            <a:endParaRPr lang="en-FI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BE1CA5-709C-A6F5-799A-B86582773EB3}"/>
              </a:ext>
            </a:extLst>
          </p:cNvPr>
          <p:cNvGrpSpPr/>
          <p:nvPr/>
        </p:nvGrpSpPr>
        <p:grpSpPr>
          <a:xfrm>
            <a:off x="4579012" y="823941"/>
            <a:ext cx="4559421" cy="2660455"/>
            <a:chOff x="7529284" y="970122"/>
            <a:chExt cx="4559421" cy="2660455"/>
          </a:xfrm>
        </p:grpSpPr>
        <p:pic>
          <p:nvPicPr>
            <p:cNvPr id="12" name="Picture 4" descr="Molten salt reactor - Energy Education">
              <a:extLst>
                <a:ext uri="{FF2B5EF4-FFF2-40B4-BE49-F238E27FC236}">
                  <a16:creationId xmlns:a16="http://schemas.microsoft.com/office/drawing/2014/main" id="{9A2E9CA5-0E2B-C3F1-96B7-ECA3250DF0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7013" y="970122"/>
              <a:ext cx="3223959" cy="21362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478C245-F858-81F5-7215-4D4D1A85B49E}"/>
                </a:ext>
              </a:extLst>
            </p:cNvPr>
            <p:cNvSpPr txBox="1"/>
            <p:nvPr/>
          </p:nvSpPr>
          <p:spPr>
            <a:xfrm>
              <a:off x="7529284" y="3045802"/>
              <a:ext cx="4559421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dirty="0"/>
                <a:t>The MSR used in the Oak Ridge Molten salt reactor (7.4 MW) commercial pilot 1969</a:t>
              </a:r>
              <a:endParaRPr lang="en-FI" sz="1600" dirty="0"/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5B80BEFB-A49D-01A6-A271-79508F2771A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004" t="10140" r="71813" b="28804"/>
          <a:stretch/>
        </p:blipFill>
        <p:spPr>
          <a:xfrm>
            <a:off x="400109" y="383386"/>
            <a:ext cx="4249858" cy="515367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A18D0F6-F76E-671D-AE2F-F79ED0E3EEB7}"/>
              </a:ext>
            </a:extLst>
          </p:cNvPr>
          <p:cNvSpPr txBox="1"/>
          <p:nvPr/>
        </p:nvSpPr>
        <p:spPr>
          <a:xfrm>
            <a:off x="509071" y="5636144"/>
            <a:ext cx="40319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RNL (1972): The Development Status of Molten Salt Breeder Reactors, Report ORNL - 4812, Oakland Ridge Nuclear Laboratory, United States Atomic Energy Commission (AEC)</a:t>
            </a:r>
            <a:endParaRPr lang="en-FI" sz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0180FB9-5888-5A8E-CEF0-8FB6CF306850}"/>
              </a:ext>
            </a:extLst>
          </p:cNvPr>
          <p:cNvGrpSpPr/>
          <p:nvPr/>
        </p:nvGrpSpPr>
        <p:grpSpPr>
          <a:xfrm>
            <a:off x="9133323" y="114013"/>
            <a:ext cx="2997450" cy="6155989"/>
            <a:chOff x="9123677" y="246000"/>
            <a:chExt cx="2997450" cy="6155989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2981444-D88B-2F3B-1043-258A3065D104}"/>
                </a:ext>
              </a:extLst>
            </p:cNvPr>
            <p:cNvSpPr txBox="1"/>
            <p:nvPr/>
          </p:nvSpPr>
          <p:spPr>
            <a:xfrm>
              <a:off x="9142969" y="5232438"/>
              <a:ext cx="2978158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hlinkClick r:id="rId5"/>
                </a:rPr>
                <a:t>https://thethoriumnetwork.com/2022/05/03/%e3%83%91%e3%83%bc%e3%83%95%e3%82%a7%e3%82%af%e3%83%88%e3%83%86%e3%82%af%e3%83%8e%e3%83%ad%e3%82%b8%e3%83%bc-%e3%83%90%e3%82%a4%e3%83%aa%e3%83%b3%e3%82%ac%e3%83%ab%e8%a8%98%e4%ba%8b-%e6%97%a5%e6%9c%ac/</a:t>
              </a:r>
              <a:r>
                <a:rPr lang="en-US" sz="1000" dirty="0"/>
                <a:t> </a:t>
              </a:r>
              <a:endParaRPr lang="en-FI" sz="1000" dirty="0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D38E4DC-0236-00A0-CB2E-ACCD1E648C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123677" y="246000"/>
              <a:ext cx="2928728" cy="5009801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92B1D79-4F25-6CB0-87F8-DA1B03E7E21B}"/>
              </a:ext>
            </a:extLst>
          </p:cNvPr>
          <p:cNvSpPr txBox="1"/>
          <p:nvPr/>
        </p:nvSpPr>
        <p:spPr>
          <a:xfrm>
            <a:off x="4807030" y="2684176"/>
            <a:ext cx="5470009" cy="1015663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The status report outcome of billions of dollars and several decades of research and development  (100 billion $USD in 2023 adjusted for inflation)</a:t>
            </a:r>
            <a:endParaRPr lang="en-FI" sz="2000" dirty="0"/>
          </a:p>
        </p:txBody>
      </p:sp>
      <p:pic>
        <p:nvPicPr>
          <p:cNvPr id="4098" name="Picture 2" descr="Thorium Molten Salt Burner">
            <a:extLst>
              <a:ext uri="{FF2B5EF4-FFF2-40B4-BE49-F238E27FC236}">
                <a16:creationId xmlns:a16="http://schemas.microsoft.com/office/drawing/2014/main" id="{1ED53CAE-D038-F49D-C098-296442BE92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558" y="942855"/>
            <a:ext cx="6829333" cy="5009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7745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2" grpId="0" animBg="1"/>
      <p:bldP spid="2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TK">
  <a:themeElements>
    <a:clrScheme name="GTK">
      <a:dk1>
        <a:srgbClr val="000000"/>
      </a:dk1>
      <a:lt1>
        <a:srgbClr val="FFFFFF"/>
      </a:lt1>
      <a:dk2>
        <a:srgbClr val="636569"/>
      </a:dk2>
      <a:lt2>
        <a:srgbClr val="32A2B8"/>
      </a:lt2>
      <a:accent1>
        <a:srgbClr val="32A2B8"/>
      </a:accent1>
      <a:accent2>
        <a:srgbClr val="85AF9A"/>
      </a:accent2>
      <a:accent3>
        <a:srgbClr val="636569"/>
      </a:accent3>
      <a:accent4>
        <a:srgbClr val="F9DD9F"/>
      </a:accent4>
      <a:accent5>
        <a:srgbClr val="FF595A"/>
      </a:accent5>
      <a:accent6>
        <a:srgbClr val="A8DDE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GTK-template-2022" id="{DBDB4DC5-6FFE-4993-8B73-77CAAA5A1762}" vid="{2DB4F36B-46EB-4071-988F-D1E47DDDC837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7E41B61706AD5D45A1EBDB27854A6C65" ma:contentTypeVersion="12" ma:contentTypeDescription="Luo uusi asiakirja." ma:contentTypeScope="" ma:versionID="9c4023bda04d298f678f1158ba781d16">
  <xsd:schema xmlns:xsd="http://www.w3.org/2001/XMLSchema" xmlns:xs="http://www.w3.org/2001/XMLSchema" xmlns:p="http://schemas.microsoft.com/office/2006/metadata/properties" xmlns:ns2="b1ebee64-8cdf-4091-bd77-f3651f5be192" xmlns:ns3="405cfb43-9cb7-47d9-b23f-1e3c7ddd6d1d" targetNamespace="http://schemas.microsoft.com/office/2006/metadata/properties" ma:root="true" ma:fieldsID="47b42ee05873d0dee8a31c00f1b03391" ns2:_="" ns3:_="">
    <xsd:import namespace="b1ebee64-8cdf-4091-bd77-f3651f5be192"/>
    <xsd:import namespace="405cfb43-9cb7-47d9-b23f-1e3c7ddd6d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ebee64-8cdf-4091-bd77-f3651f5be1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5cfb43-9cb7-47d9-b23f-1e3c7ddd6d1d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11A28A-62CB-4744-AAE9-DF0FBEE9E8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ebee64-8cdf-4091-bd77-f3651f5be192"/>
    <ds:schemaRef ds:uri="405cfb43-9cb7-47d9-b23f-1e3c7ddd6d1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B60BD30-5B35-469B-BDC9-A50DABAB4ECC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47C41BD-7499-40F4-AA26-004D4828D42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20371360132430</Template>
  <TotalTime>3017</TotalTime>
  <Words>1270</Words>
  <Application>Microsoft Office PowerPoint</Application>
  <PresentationFormat>Widescreen</PresentationFormat>
  <Paragraphs>164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Bahnschrift</vt:lpstr>
      <vt:lpstr>Calibri</vt:lpstr>
      <vt:lpstr>GTK</vt:lpstr>
      <vt:lpstr>think-cell Slide</vt:lpstr>
      <vt:lpstr>Black Swans, White Swans and the Purple Transition </vt:lpstr>
      <vt:lpstr>Summa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ke batteries out of something el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penhagen Atom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commodities sector has been misunderstood</vt:lpstr>
      <vt:lpstr>PowerPoint Presentation</vt:lpstr>
      <vt:lpstr>The Purple Transi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tsikko</dc:title>
  <dc:creator>Michaux Simon (GTK)</dc:creator>
  <cp:lastModifiedBy>Michaux Simon (GTK)</cp:lastModifiedBy>
  <cp:revision>128</cp:revision>
  <dcterms:created xsi:type="dcterms:W3CDTF">2023-02-01T10:01:59Z</dcterms:created>
  <dcterms:modified xsi:type="dcterms:W3CDTF">2023-12-18T08:4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41B61706AD5D45A1EBDB27854A6C65</vt:lpwstr>
  </property>
</Properties>
</file>